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6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7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8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0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11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12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13.xml" ContentType="application/vnd.openxmlformats-officedocument.theme+xml"/>
  <Override PartName="/ppt/tags/tag3.xml" ContentType="application/vnd.openxmlformats-officedocument.presentationml.tags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14.xml" ContentType="application/vnd.openxmlformats-officedocument.theme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heme/theme15.xml" ContentType="application/vnd.openxmlformats-officedocument.theme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  <p:sldMasterId id="2147483701" r:id="rId2"/>
    <p:sldMasterId id="2147483733" r:id="rId3"/>
    <p:sldMasterId id="2147483735" r:id="rId4"/>
    <p:sldMasterId id="2147483754" r:id="rId5"/>
    <p:sldMasterId id="2147483783" r:id="rId6"/>
    <p:sldMasterId id="2147483810" r:id="rId7"/>
    <p:sldMasterId id="2147483834" r:id="rId8"/>
    <p:sldMasterId id="2147483839" r:id="rId9"/>
    <p:sldMasterId id="2147483863" r:id="rId10"/>
    <p:sldMasterId id="2147483895" r:id="rId11"/>
    <p:sldMasterId id="2147483934" r:id="rId12"/>
    <p:sldMasterId id="2147483957" r:id="rId13"/>
    <p:sldMasterId id="2147483976" r:id="rId14"/>
    <p:sldMasterId id="2147483992" r:id="rId15"/>
    <p:sldMasterId id="2147484004" r:id="rId16"/>
  </p:sldMasterIdLst>
  <p:notesMasterIdLst>
    <p:notesMasterId r:id="rId33"/>
  </p:notesMasterIdLst>
  <p:sldIdLst>
    <p:sldId id="675" r:id="rId17"/>
    <p:sldId id="288" r:id="rId18"/>
    <p:sldId id="278" r:id="rId19"/>
    <p:sldId id="8294" r:id="rId20"/>
    <p:sldId id="305" r:id="rId21"/>
    <p:sldId id="261" r:id="rId22"/>
    <p:sldId id="8295" r:id="rId23"/>
    <p:sldId id="1815" r:id="rId24"/>
    <p:sldId id="263" r:id="rId25"/>
    <p:sldId id="3438" r:id="rId26"/>
    <p:sldId id="470" r:id="rId27"/>
    <p:sldId id="469" r:id="rId28"/>
    <p:sldId id="474" r:id="rId29"/>
    <p:sldId id="475" r:id="rId30"/>
    <p:sldId id="476" r:id="rId31"/>
    <p:sldId id="471" r:id="rId3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AD3EB7F7-37A4-4419-BA0A-888C5309EAA5}">
          <p14:sldIdLst/>
        </p14:section>
        <p14:section name="Event Template" id="{AB4AE72E-B8BA-4D6A-9AE8-13A364BD025C}">
          <p14:sldIdLst>
            <p14:sldId id="675"/>
            <p14:sldId id="288"/>
            <p14:sldId id="278"/>
            <p14:sldId id="8294"/>
            <p14:sldId id="305"/>
            <p14:sldId id="261"/>
            <p14:sldId id="8295"/>
            <p14:sldId id="1815"/>
            <p14:sldId id="263"/>
            <p14:sldId id="3438"/>
          </p14:sldIdLst>
        </p14:section>
        <p14:section name="Default Section" id="{0D7A4DDF-A760-437F-92E4-18F68877BEAB}">
          <p14:sldIdLst>
            <p14:sldId id="470"/>
            <p14:sldId id="469"/>
            <p14:sldId id="474"/>
            <p14:sldId id="475"/>
            <p14:sldId id="476"/>
            <p14:sldId id="47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85970" autoAdjust="0"/>
  </p:normalViewPr>
  <p:slideViewPr>
    <p:cSldViewPr snapToGrid="0">
      <p:cViewPr>
        <p:scale>
          <a:sx n="88" d="100"/>
          <a:sy n="88" d="100"/>
        </p:scale>
        <p:origin x="53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5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335F7E-5927-468C-9458-2481A97BDF62}" type="doc">
      <dgm:prSet loTypeId="urn:microsoft.com/office/officeart/2005/8/layout/vProcess5" loCatId="process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48EB1F96-DBBC-4462-8CAC-F0A3491937F4}">
      <dgm:prSet custT="1"/>
      <dgm:spPr/>
      <dgm:t>
        <a:bodyPr/>
        <a:lstStyle/>
        <a:p>
          <a:r>
            <a:rPr lang="en-US" sz="2000" b="1" dirty="0">
              <a:solidFill>
                <a:srgbClr val="2B27A3"/>
              </a:solidFill>
            </a:rPr>
            <a:t>Ease of Discovery: </a:t>
          </a:r>
          <a:r>
            <a:rPr lang="en-US" sz="2000" dirty="0"/>
            <a:t>Find the right model for your needs</a:t>
          </a:r>
        </a:p>
      </dgm:t>
    </dgm:pt>
    <dgm:pt modelId="{F17CEFAD-4357-4F06-A42F-6C5CCE822F81}" type="parTrans" cxnId="{21DBCCCA-EC2A-41A3-99D0-C7AEC9CFE266}">
      <dgm:prSet/>
      <dgm:spPr/>
      <dgm:t>
        <a:bodyPr/>
        <a:lstStyle/>
        <a:p>
          <a:endParaRPr lang="en-US" sz="1600"/>
        </a:p>
      </dgm:t>
    </dgm:pt>
    <dgm:pt modelId="{C68F621F-A029-49B4-8CED-8CB730B1684E}" type="sibTrans" cxnId="{21DBCCCA-EC2A-41A3-99D0-C7AEC9CFE266}">
      <dgm:prSet custT="1"/>
      <dgm:spPr/>
      <dgm:t>
        <a:bodyPr/>
        <a:lstStyle/>
        <a:p>
          <a:endParaRPr lang="en-US" sz="2800"/>
        </a:p>
      </dgm:t>
    </dgm:pt>
    <dgm:pt modelId="{FEB6D37E-84B2-4DAE-B0F7-FA150E2F4700}">
      <dgm:prSet custT="1"/>
      <dgm:spPr/>
      <dgm:t>
        <a:bodyPr/>
        <a:lstStyle/>
        <a:p>
          <a:r>
            <a:rPr lang="en-US" sz="2000" b="1">
              <a:solidFill>
                <a:srgbClr val="2B27A3"/>
              </a:solidFill>
            </a:rPr>
            <a:t>Ease of deployment: </a:t>
          </a:r>
          <a:r>
            <a:rPr lang="en-US" sz="2000"/>
            <a:t>Deploy the model easily</a:t>
          </a:r>
        </a:p>
      </dgm:t>
    </dgm:pt>
    <dgm:pt modelId="{75BABBE6-0340-4598-8C3C-816CF3D9F5AE}" type="parTrans" cxnId="{03756FFC-28D2-4641-96C7-8BE53BADCCEA}">
      <dgm:prSet/>
      <dgm:spPr/>
      <dgm:t>
        <a:bodyPr/>
        <a:lstStyle/>
        <a:p>
          <a:endParaRPr lang="en-US" sz="1600"/>
        </a:p>
      </dgm:t>
    </dgm:pt>
    <dgm:pt modelId="{454FFA76-EB37-4F40-9D0B-F03DADAC076F}" type="sibTrans" cxnId="{03756FFC-28D2-4641-96C7-8BE53BADCCEA}">
      <dgm:prSet custT="1"/>
      <dgm:spPr/>
      <dgm:t>
        <a:bodyPr/>
        <a:lstStyle/>
        <a:p>
          <a:endParaRPr lang="en-US" sz="2800"/>
        </a:p>
      </dgm:t>
    </dgm:pt>
    <dgm:pt modelId="{A860ABBF-FA05-4007-B58A-96B88B816C6E}">
      <dgm:prSet custT="1"/>
      <dgm:spPr/>
      <dgm:t>
        <a:bodyPr/>
        <a:lstStyle/>
        <a:p>
          <a:r>
            <a:rPr lang="en-US" sz="2000" b="1">
              <a:solidFill>
                <a:srgbClr val="2B27A3"/>
              </a:solidFill>
            </a:rPr>
            <a:t>Reach of Deployment: </a:t>
          </a:r>
          <a:r>
            <a:rPr lang="en-US" sz="2000"/>
            <a:t>Deploy the model anywhere</a:t>
          </a:r>
        </a:p>
      </dgm:t>
    </dgm:pt>
    <dgm:pt modelId="{2475A644-0FC9-46F9-9556-9B26A17E470E}" type="parTrans" cxnId="{CC106022-4D80-4F00-97A9-3B545D4B0DCC}">
      <dgm:prSet/>
      <dgm:spPr/>
      <dgm:t>
        <a:bodyPr/>
        <a:lstStyle/>
        <a:p>
          <a:endParaRPr lang="en-US" sz="1600"/>
        </a:p>
      </dgm:t>
    </dgm:pt>
    <dgm:pt modelId="{2FB62D54-C739-40F0-8BBB-7E73185D2E70}" type="sibTrans" cxnId="{CC106022-4D80-4F00-97A9-3B545D4B0DCC}">
      <dgm:prSet custT="1"/>
      <dgm:spPr/>
      <dgm:t>
        <a:bodyPr/>
        <a:lstStyle/>
        <a:p>
          <a:endParaRPr lang="en-US" sz="2800"/>
        </a:p>
      </dgm:t>
    </dgm:pt>
    <dgm:pt modelId="{9EE346D4-C69D-4F1C-BCFB-6DBEAABFDD43}">
      <dgm:prSet custT="1"/>
      <dgm:spPr/>
      <dgm:t>
        <a:bodyPr/>
        <a:lstStyle/>
        <a:p>
          <a:r>
            <a:rPr lang="en-US" sz="2000" b="1">
              <a:solidFill>
                <a:srgbClr val="2B27A3"/>
              </a:solidFill>
            </a:rPr>
            <a:t>Ease of Integration: </a:t>
          </a:r>
          <a:r>
            <a:rPr lang="en-US" sz="2000"/>
            <a:t>Use the tools you are familiar with to create AI apps and manage them</a:t>
          </a:r>
        </a:p>
      </dgm:t>
    </dgm:pt>
    <dgm:pt modelId="{063F9876-DB23-46ED-8E4B-7591C9D39AC3}" type="parTrans" cxnId="{9D7B8313-6FC7-4D65-AE7A-C08A76F75AFC}">
      <dgm:prSet/>
      <dgm:spPr/>
      <dgm:t>
        <a:bodyPr/>
        <a:lstStyle/>
        <a:p>
          <a:endParaRPr lang="en-US" sz="1600"/>
        </a:p>
      </dgm:t>
    </dgm:pt>
    <dgm:pt modelId="{8A4D11C2-8579-4936-8737-5713C13C0B16}" type="sibTrans" cxnId="{9D7B8313-6FC7-4D65-AE7A-C08A76F75AFC}">
      <dgm:prSet custT="1"/>
      <dgm:spPr/>
      <dgm:t>
        <a:bodyPr/>
        <a:lstStyle/>
        <a:p>
          <a:endParaRPr lang="en-US" sz="2800"/>
        </a:p>
      </dgm:t>
    </dgm:pt>
    <dgm:pt modelId="{A0E49BA7-1B0A-47C6-9FED-B9B2BA47E94B}">
      <dgm:prSet custT="1"/>
      <dgm:spPr/>
      <dgm:t>
        <a:bodyPr/>
        <a:lstStyle/>
        <a:p>
          <a:r>
            <a:rPr lang="en-US" sz="2000" b="1" dirty="0">
              <a:solidFill>
                <a:srgbClr val="2B27A3"/>
              </a:solidFill>
            </a:rPr>
            <a:t>Single pane of glass for monitoring and management: </a:t>
          </a:r>
          <a:r>
            <a:rPr lang="en-US" sz="2000" dirty="0"/>
            <a:t>All your AI models in one place </a:t>
          </a:r>
        </a:p>
      </dgm:t>
    </dgm:pt>
    <dgm:pt modelId="{EE7A7826-EC7B-4D63-848A-DB6F253A6A0A}" type="parTrans" cxnId="{C0815B71-16F4-43F2-947F-9284B3A2AE05}">
      <dgm:prSet/>
      <dgm:spPr/>
      <dgm:t>
        <a:bodyPr/>
        <a:lstStyle/>
        <a:p>
          <a:endParaRPr lang="en-US" sz="1600"/>
        </a:p>
      </dgm:t>
    </dgm:pt>
    <dgm:pt modelId="{3BA406FB-AAF9-4042-B376-A913EC2A29F0}" type="sibTrans" cxnId="{C0815B71-16F4-43F2-947F-9284B3A2AE05}">
      <dgm:prSet/>
      <dgm:spPr/>
      <dgm:t>
        <a:bodyPr/>
        <a:lstStyle/>
        <a:p>
          <a:endParaRPr lang="en-US" sz="1600"/>
        </a:p>
      </dgm:t>
    </dgm:pt>
    <dgm:pt modelId="{5274BD2D-E9F7-6F4D-BF04-06926FFB7927}" type="pres">
      <dgm:prSet presAssocID="{EC335F7E-5927-468C-9458-2481A97BDF62}" presName="outerComposite" presStyleCnt="0">
        <dgm:presLayoutVars>
          <dgm:chMax val="5"/>
          <dgm:dir/>
          <dgm:resizeHandles val="exact"/>
        </dgm:presLayoutVars>
      </dgm:prSet>
      <dgm:spPr/>
    </dgm:pt>
    <dgm:pt modelId="{36774D5D-7F7E-774E-837E-49A363C827A1}" type="pres">
      <dgm:prSet presAssocID="{EC335F7E-5927-468C-9458-2481A97BDF62}" presName="dummyMaxCanvas" presStyleCnt="0">
        <dgm:presLayoutVars/>
      </dgm:prSet>
      <dgm:spPr/>
    </dgm:pt>
    <dgm:pt modelId="{434398E2-6599-FE4F-A5EF-16605C0C3AAA}" type="pres">
      <dgm:prSet presAssocID="{EC335F7E-5927-468C-9458-2481A97BDF62}" presName="FiveNodes_1" presStyleLbl="node1" presStyleIdx="0" presStyleCnt="5">
        <dgm:presLayoutVars>
          <dgm:bulletEnabled val="1"/>
        </dgm:presLayoutVars>
      </dgm:prSet>
      <dgm:spPr/>
    </dgm:pt>
    <dgm:pt modelId="{D41DCA5F-53CB-BF46-8928-53B85E031E4F}" type="pres">
      <dgm:prSet presAssocID="{EC335F7E-5927-468C-9458-2481A97BDF62}" presName="FiveNodes_2" presStyleLbl="node1" presStyleIdx="1" presStyleCnt="5">
        <dgm:presLayoutVars>
          <dgm:bulletEnabled val="1"/>
        </dgm:presLayoutVars>
      </dgm:prSet>
      <dgm:spPr/>
    </dgm:pt>
    <dgm:pt modelId="{3704830C-9128-264E-B3BE-CB0B4051AFC9}" type="pres">
      <dgm:prSet presAssocID="{EC335F7E-5927-468C-9458-2481A97BDF62}" presName="FiveNodes_3" presStyleLbl="node1" presStyleIdx="2" presStyleCnt="5">
        <dgm:presLayoutVars>
          <dgm:bulletEnabled val="1"/>
        </dgm:presLayoutVars>
      </dgm:prSet>
      <dgm:spPr/>
    </dgm:pt>
    <dgm:pt modelId="{99B68674-5310-6644-84F6-2B8B84682DAB}" type="pres">
      <dgm:prSet presAssocID="{EC335F7E-5927-468C-9458-2481A97BDF62}" presName="FiveNodes_4" presStyleLbl="node1" presStyleIdx="3" presStyleCnt="5">
        <dgm:presLayoutVars>
          <dgm:bulletEnabled val="1"/>
        </dgm:presLayoutVars>
      </dgm:prSet>
      <dgm:spPr/>
    </dgm:pt>
    <dgm:pt modelId="{C5D5C261-A79E-BE4E-8FB8-66957273B753}" type="pres">
      <dgm:prSet presAssocID="{EC335F7E-5927-468C-9458-2481A97BDF62}" presName="FiveNodes_5" presStyleLbl="node1" presStyleIdx="4" presStyleCnt="5">
        <dgm:presLayoutVars>
          <dgm:bulletEnabled val="1"/>
        </dgm:presLayoutVars>
      </dgm:prSet>
      <dgm:spPr/>
    </dgm:pt>
    <dgm:pt modelId="{5722C6CA-50F3-6445-988B-E3670BDFC9A5}" type="pres">
      <dgm:prSet presAssocID="{EC335F7E-5927-468C-9458-2481A97BDF62}" presName="FiveConn_1-2" presStyleLbl="fgAccFollowNode1" presStyleIdx="0" presStyleCnt="4">
        <dgm:presLayoutVars>
          <dgm:bulletEnabled val="1"/>
        </dgm:presLayoutVars>
      </dgm:prSet>
      <dgm:spPr/>
    </dgm:pt>
    <dgm:pt modelId="{FF2143F7-5C67-B34C-9E08-B2D56CB46538}" type="pres">
      <dgm:prSet presAssocID="{EC335F7E-5927-468C-9458-2481A97BDF62}" presName="FiveConn_2-3" presStyleLbl="fgAccFollowNode1" presStyleIdx="1" presStyleCnt="4">
        <dgm:presLayoutVars>
          <dgm:bulletEnabled val="1"/>
        </dgm:presLayoutVars>
      </dgm:prSet>
      <dgm:spPr/>
    </dgm:pt>
    <dgm:pt modelId="{32C10A08-4401-094D-A52A-4FC2DEBD0F9D}" type="pres">
      <dgm:prSet presAssocID="{EC335F7E-5927-468C-9458-2481A97BDF62}" presName="FiveConn_3-4" presStyleLbl="fgAccFollowNode1" presStyleIdx="2" presStyleCnt="4">
        <dgm:presLayoutVars>
          <dgm:bulletEnabled val="1"/>
        </dgm:presLayoutVars>
      </dgm:prSet>
      <dgm:spPr/>
    </dgm:pt>
    <dgm:pt modelId="{2F6F6754-A424-734A-B05D-5EF86DF1726A}" type="pres">
      <dgm:prSet presAssocID="{EC335F7E-5927-468C-9458-2481A97BDF62}" presName="FiveConn_4-5" presStyleLbl="fgAccFollowNode1" presStyleIdx="3" presStyleCnt="4">
        <dgm:presLayoutVars>
          <dgm:bulletEnabled val="1"/>
        </dgm:presLayoutVars>
      </dgm:prSet>
      <dgm:spPr/>
    </dgm:pt>
    <dgm:pt modelId="{4759A65B-CE46-784C-A0AF-F420AD8495A0}" type="pres">
      <dgm:prSet presAssocID="{EC335F7E-5927-468C-9458-2481A97BDF62}" presName="FiveNodes_1_text" presStyleLbl="node1" presStyleIdx="4" presStyleCnt="5">
        <dgm:presLayoutVars>
          <dgm:bulletEnabled val="1"/>
        </dgm:presLayoutVars>
      </dgm:prSet>
      <dgm:spPr/>
    </dgm:pt>
    <dgm:pt modelId="{BD86C3DA-A760-864D-BA6E-809ED1755F63}" type="pres">
      <dgm:prSet presAssocID="{EC335F7E-5927-468C-9458-2481A97BDF62}" presName="FiveNodes_2_text" presStyleLbl="node1" presStyleIdx="4" presStyleCnt="5">
        <dgm:presLayoutVars>
          <dgm:bulletEnabled val="1"/>
        </dgm:presLayoutVars>
      </dgm:prSet>
      <dgm:spPr/>
    </dgm:pt>
    <dgm:pt modelId="{BA8AB665-07EE-7146-BFBA-D6551FC7131B}" type="pres">
      <dgm:prSet presAssocID="{EC335F7E-5927-468C-9458-2481A97BDF62}" presName="FiveNodes_3_text" presStyleLbl="node1" presStyleIdx="4" presStyleCnt="5">
        <dgm:presLayoutVars>
          <dgm:bulletEnabled val="1"/>
        </dgm:presLayoutVars>
      </dgm:prSet>
      <dgm:spPr/>
    </dgm:pt>
    <dgm:pt modelId="{E5365255-CDFD-8146-B598-DACE6337D1AC}" type="pres">
      <dgm:prSet presAssocID="{EC335F7E-5927-468C-9458-2481A97BDF62}" presName="FiveNodes_4_text" presStyleLbl="node1" presStyleIdx="4" presStyleCnt="5">
        <dgm:presLayoutVars>
          <dgm:bulletEnabled val="1"/>
        </dgm:presLayoutVars>
      </dgm:prSet>
      <dgm:spPr/>
    </dgm:pt>
    <dgm:pt modelId="{5CE5C10F-A46A-6A44-A827-435D40504092}" type="pres">
      <dgm:prSet presAssocID="{EC335F7E-5927-468C-9458-2481A97BDF62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9D7B8313-6FC7-4D65-AE7A-C08A76F75AFC}" srcId="{EC335F7E-5927-468C-9458-2481A97BDF62}" destId="{9EE346D4-C69D-4F1C-BCFB-6DBEAABFDD43}" srcOrd="1" destOrd="0" parTransId="{063F9876-DB23-46ED-8E4B-7591C9D39AC3}" sibTransId="{8A4D11C2-8579-4936-8737-5713C13C0B16}"/>
    <dgm:cxn modelId="{3DD0D213-A67B-4D46-972C-8D36173E1DA1}" type="presOf" srcId="{A860ABBF-FA05-4007-B58A-96B88B816C6E}" destId="{E5365255-CDFD-8146-B598-DACE6337D1AC}" srcOrd="1" destOrd="0" presId="urn:microsoft.com/office/officeart/2005/8/layout/vProcess5"/>
    <dgm:cxn modelId="{CC106022-4D80-4F00-97A9-3B545D4B0DCC}" srcId="{EC335F7E-5927-468C-9458-2481A97BDF62}" destId="{A860ABBF-FA05-4007-B58A-96B88B816C6E}" srcOrd="3" destOrd="0" parTransId="{2475A644-0FC9-46F9-9556-9B26A17E470E}" sibTransId="{2FB62D54-C739-40F0-8BBB-7E73185D2E70}"/>
    <dgm:cxn modelId="{4A985948-D003-4B46-B530-7C04DF0CEAF8}" type="presOf" srcId="{8A4D11C2-8579-4936-8737-5713C13C0B16}" destId="{FF2143F7-5C67-B34C-9E08-B2D56CB46538}" srcOrd="0" destOrd="0" presId="urn:microsoft.com/office/officeart/2005/8/layout/vProcess5"/>
    <dgm:cxn modelId="{8FB23D4E-723A-5C49-BE8A-AA3480946258}" type="presOf" srcId="{48EB1F96-DBBC-4462-8CAC-F0A3491937F4}" destId="{4759A65B-CE46-784C-A0AF-F420AD8495A0}" srcOrd="1" destOrd="0" presId="urn:microsoft.com/office/officeart/2005/8/layout/vProcess5"/>
    <dgm:cxn modelId="{C0815B71-16F4-43F2-947F-9284B3A2AE05}" srcId="{EC335F7E-5927-468C-9458-2481A97BDF62}" destId="{A0E49BA7-1B0A-47C6-9FED-B9B2BA47E94B}" srcOrd="4" destOrd="0" parTransId="{EE7A7826-EC7B-4D63-848A-DB6F253A6A0A}" sibTransId="{3BA406FB-AAF9-4042-B376-A913EC2A29F0}"/>
    <dgm:cxn modelId="{E95D9452-E271-6748-9706-9479FE18ABD8}" type="presOf" srcId="{A0E49BA7-1B0A-47C6-9FED-B9B2BA47E94B}" destId="{C5D5C261-A79E-BE4E-8FB8-66957273B753}" srcOrd="0" destOrd="0" presId="urn:microsoft.com/office/officeart/2005/8/layout/vProcess5"/>
    <dgm:cxn modelId="{4C8F748A-8B19-1345-97E3-141815C62008}" type="presOf" srcId="{C68F621F-A029-49B4-8CED-8CB730B1684E}" destId="{5722C6CA-50F3-6445-988B-E3670BDFC9A5}" srcOrd="0" destOrd="0" presId="urn:microsoft.com/office/officeart/2005/8/layout/vProcess5"/>
    <dgm:cxn modelId="{4758088B-ADBF-3843-922E-D240CEEF37A9}" type="presOf" srcId="{2FB62D54-C739-40F0-8BBB-7E73185D2E70}" destId="{2F6F6754-A424-734A-B05D-5EF86DF1726A}" srcOrd="0" destOrd="0" presId="urn:microsoft.com/office/officeart/2005/8/layout/vProcess5"/>
    <dgm:cxn modelId="{43418F8B-ED63-9947-90FE-664A5D88677A}" type="presOf" srcId="{454FFA76-EB37-4F40-9D0B-F03DADAC076F}" destId="{32C10A08-4401-094D-A52A-4FC2DEBD0F9D}" srcOrd="0" destOrd="0" presId="urn:microsoft.com/office/officeart/2005/8/layout/vProcess5"/>
    <dgm:cxn modelId="{159D9D8D-8F8D-CD43-8B80-2B1AC05801E7}" type="presOf" srcId="{9EE346D4-C69D-4F1C-BCFB-6DBEAABFDD43}" destId="{D41DCA5F-53CB-BF46-8928-53B85E031E4F}" srcOrd="0" destOrd="0" presId="urn:microsoft.com/office/officeart/2005/8/layout/vProcess5"/>
    <dgm:cxn modelId="{54CED395-F2BC-6F47-89D1-B904CE0927D1}" type="presOf" srcId="{9EE346D4-C69D-4F1C-BCFB-6DBEAABFDD43}" destId="{BD86C3DA-A760-864D-BA6E-809ED1755F63}" srcOrd="1" destOrd="0" presId="urn:microsoft.com/office/officeart/2005/8/layout/vProcess5"/>
    <dgm:cxn modelId="{9BF1189F-1B2C-B042-B50A-05C9C4FF716F}" type="presOf" srcId="{FEB6D37E-84B2-4DAE-B0F7-FA150E2F4700}" destId="{3704830C-9128-264E-B3BE-CB0B4051AFC9}" srcOrd="0" destOrd="0" presId="urn:microsoft.com/office/officeart/2005/8/layout/vProcess5"/>
    <dgm:cxn modelId="{DA9CE5AE-25A9-6A46-9031-CDFDC09AC3EC}" type="presOf" srcId="{A0E49BA7-1B0A-47C6-9FED-B9B2BA47E94B}" destId="{5CE5C10F-A46A-6A44-A827-435D40504092}" srcOrd="1" destOrd="0" presId="urn:microsoft.com/office/officeart/2005/8/layout/vProcess5"/>
    <dgm:cxn modelId="{705AF1B2-AA55-9F47-83F5-0FFD21DE72B8}" type="presOf" srcId="{FEB6D37E-84B2-4DAE-B0F7-FA150E2F4700}" destId="{BA8AB665-07EE-7146-BFBA-D6551FC7131B}" srcOrd="1" destOrd="0" presId="urn:microsoft.com/office/officeart/2005/8/layout/vProcess5"/>
    <dgm:cxn modelId="{21DBCCCA-EC2A-41A3-99D0-C7AEC9CFE266}" srcId="{EC335F7E-5927-468C-9458-2481A97BDF62}" destId="{48EB1F96-DBBC-4462-8CAC-F0A3491937F4}" srcOrd="0" destOrd="0" parTransId="{F17CEFAD-4357-4F06-A42F-6C5CCE822F81}" sibTransId="{C68F621F-A029-49B4-8CED-8CB730B1684E}"/>
    <dgm:cxn modelId="{007B3DD7-2F9B-B549-B875-68111263AE0A}" type="presOf" srcId="{48EB1F96-DBBC-4462-8CAC-F0A3491937F4}" destId="{434398E2-6599-FE4F-A5EF-16605C0C3AAA}" srcOrd="0" destOrd="0" presId="urn:microsoft.com/office/officeart/2005/8/layout/vProcess5"/>
    <dgm:cxn modelId="{43800AFA-076C-4C47-8290-B21B07F3BA56}" type="presOf" srcId="{EC335F7E-5927-468C-9458-2481A97BDF62}" destId="{5274BD2D-E9F7-6F4D-BF04-06926FFB7927}" srcOrd="0" destOrd="0" presId="urn:microsoft.com/office/officeart/2005/8/layout/vProcess5"/>
    <dgm:cxn modelId="{03756FFC-28D2-4641-96C7-8BE53BADCCEA}" srcId="{EC335F7E-5927-468C-9458-2481A97BDF62}" destId="{FEB6D37E-84B2-4DAE-B0F7-FA150E2F4700}" srcOrd="2" destOrd="0" parTransId="{75BABBE6-0340-4598-8C3C-816CF3D9F5AE}" sibTransId="{454FFA76-EB37-4F40-9D0B-F03DADAC076F}"/>
    <dgm:cxn modelId="{BB6065FE-34FB-2D44-BDD6-D89ED6207227}" type="presOf" srcId="{A860ABBF-FA05-4007-B58A-96B88B816C6E}" destId="{99B68674-5310-6644-84F6-2B8B84682DAB}" srcOrd="0" destOrd="0" presId="urn:microsoft.com/office/officeart/2005/8/layout/vProcess5"/>
    <dgm:cxn modelId="{A04B2F8B-4FD2-2E40-9EE6-A88F028D9C6B}" type="presParOf" srcId="{5274BD2D-E9F7-6F4D-BF04-06926FFB7927}" destId="{36774D5D-7F7E-774E-837E-49A363C827A1}" srcOrd="0" destOrd="0" presId="urn:microsoft.com/office/officeart/2005/8/layout/vProcess5"/>
    <dgm:cxn modelId="{C1E10AB6-1663-9A45-BE41-06F99AA69E69}" type="presParOf" srcId="{5274BD2D-E9F7-6F4D-BF04-06926FFB7927}" destId="{434398E2-6599-FE4F-A5EF-16605C0C3AAA}" srcOrd="1" destOrd="0" presId="urn:microsoft.com/office/officeart/2005/8/layout/vProcess5"/>
    <dgm:cxn modelId="{C8329A53-0A83-5B4E-AF94-11C649D61BA0}" type="presParOf" srcId="{5274BD2D-E9F7-6F4D-BF04-06926FFB7927}" destId="{D41DCA5F-53CB-BF46-8928-53B85E031E4F}" srcOrd="2" destOrd="0" presId="urn:microsoft.com/office/officeart/2005/8/layout/vProcess5"/>
    <dgm:cxn modelId="{13ABF8EA-EB86-E840-8425-6AA84E58582B}" type="presParOf" srcId="{5274BD2D-E9F7-6F4D-BF04-06926FFB7927}" destId="{3704830C-9128-264E-B3BE-CB0B4051AFC9}" srcOrd="3" destOrd="0" presId="urn:microsoft.com/office/officeart/2005/8/layout/vProcess5"/>
    <dgm:cxn modelId="{231B0872-D5AA-664C-A47B-C968EC5B16D0}" type="presParOf" srcId="{5274BD2D-E9F7-6F4D-BF04-06926FFB7927}" destId="{99B68674-5310-6644-84F6-2B8B84682DAB}" srcOrd="4" destOrd="0" presId="urn:microsoft.com/office/officeart/2005/8/layout/vProcess5"/>
    <dgm:cxn modelId="{E2A9CEF2-A068-D74A-9FF1-98B745D97FDB}" type="presParOf" srcId="{5274BD2D-E9F7-6F4D-BF04-06926FFB7927}" destId="{C5D5C261-A79E-BE4E-8FB8-66957273B753}" srcOrd="5" destOrd="0" presId="urn:microsoft.com/office/officeart/2005/8/layout/vProcess5"/>
    <dgm:cxn modelId="{47D4601F-55D7-D04E-9BB1-082D90CA26A3}" type="presParOf" srcId="{5274BD2D-E9F7-6F4D-BF04-06926FFB7927}" destId="{5722C6CA-50F3-6445-988B-E3670BDFC9A5}" srcOrd="6" destOrd="0" presId="urn:microsoft.com/office/officeart/2005/8/layout/vProcess5"/>
    <dgm:cxn modelId="{6354B676-3B97-D443-91B4-8A9B3B0447A5}" type="presParOf" srcId="{5274BD2D-E9F7-6F4D-BF04-06926FFB7927}" destId="{FF2143F7-5C67-B34C-9E08-B2D56CB46538}" srcOrd="7" destOrd="0" presId="urn:microsoft.com/office/officeart/2005/8/layout/vProcess5"/>
    <dgm:cxn modelId="{190DE53A-2269-9D4A-B2EA-64F39AAF1CE0}" type="presParOf" srcId="{5274BD2D-E9F7-6F4D-BF04-06926FFB7927}" destId="{32C10A08-4401-094D-A52A-4FC2DEBD0F9D}" srcOrd="8" destOrd="0" presId="urn:microsoft.com/office/officeart/2005/8/layout/vProcess5"/>
    <dgm:cxn modelId="{CEFBF1F9-37A2-C84E-B51B-ED4C5E2471C0}" type="presParOf" srcId="{5274BD2D-E9F7-6F4D-BF04-06926FFB7927}" destId="{2F6F6754-A424-734A-B05D-5EF86DF1726A}" srcOrd="9" destOrd="0" presId="urn:microsoft.com/office/officeart/2005/8/layout/vProcess5"/>
    <dgm:cxn modelId="{CDD9D558-22BC-3C47-91FD-5CDAE56CB201}" type="presParOf" srcId="{5274BD2D-E9F7-6F4D-BF04-06926FFB7927}" destId="{4759A65B-CE46-784C-A0AF-F420AD8495A0}" srcOrd="10" destOrd="0" presId="urn:microsoft.com/office/officeart/2005/8/layout/vProcess5"/>
    <dgm:cxn modelId="{BDE20545-9485-FA4E-9C11-87360F5E926D}" type="presParOf" srcId="{5274BD2D-E9F7-6F4D-BF04-06926FFB7927}" destId="{BD86C3DA-A760-864D-BA6E-809ED1755F63}" srcOrd="11" destOrd="0" presId="urn:microsoft.com/office/officeart/2005/8/layout/vProcess5"/>
    <dgm:cxn modelId="{B3044DCC-585E-214C-90B2-6E2A80A20298}" type="presParOf" srcId="{5274BD2D-E9F7-6F4D-BF04-06926FFB7927}" destId="{BA8AB665-07EE-7146-BFBA-D6551FC7131B}" srcOrd="12" destOrd="0" presId="urn:microsoft.com/office/officeart/2005/8/layout/vProcess5"/>
    <dgm:cxn modelId="{BEFB7F68-E1BE-4F43-84CE-F565C27C41A7}" type="presParOf" srcId="{5274BD2D-E9F7-6F4D-BF04-06926FFB7927}" destId="{E5365255-CDFD-8146-B598-DACE6337D1AC}" srcOrd="13" destOrd="0" presId="urn:microsoft.com/office/officeart/2005/8/layout/vProcess5"/>
    <dgm:cxn modelId="{5A671D6B-8EFE-A249-840B-EE399D48BF38}" type="presParOf" srcId="{5274BD2D-E9F7-6F4D-BF04-06926FFB7927}" destId="{5CE5C10F-A46A-6A44-A827-435D40504092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4398E2-6599-FE4F-A5EF-16605C0C3AAA}">
      <dsp:nvSpPr>
        <dsp:cNvPr id="0" name=""/>
        <dsp:cNvSpPr/>
      </dsp:nvSpPr>
      <dsp:spPr>
        <a:xfrm>
          <a:off x="0" y="0"/>
          <a:ext cx="7789655" cy="90711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rgbClr val="2B27A3"/>
              </a:solidFill>
            </a:rPr>
            <a:t>Ease of Discovery: </a:t>
          </a:r>
          <a:r>
            <a:rPr lang="en-US" sz="2000" kern="1200" dirty="0"/>
            <a:t>Find the right model for your needs</a:t>
          </a:r>
        </a:p>
      </dsp:txBody>
      <dsp:txXfrm>
        <a:off x="26568" y="26568"/>
        <a:ext cx="6704681" cy="853974"/>
      </dsp:txXfrm>
    </dsp:sp>
    <dsp:sp modelId="{D41DCA5F-53CB-BF46-8928-53B85E031E4F}">
      <dsp:nvSpPr>
        <dsp:cNvPr id="0" name=""/>
        <dsp:cNvSpPr/>
      </dsp:nvSpPr>
      <dsp:spPr>
        <a:xfrm>
          <a:off x="581695" y="1033097"/>
          <a:ext cx="7789655" cy="90711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solidFill>
                <a:srgbClr val="2B27A3"/>
              </a:solidFill>
            </a:rPr>
            <a:t>Ease of Integration: </a:t>
          </a:r>
          <a:r>
            <a:rPr lang="en-US" sz="2000" kern="1200"/>
            <a:t>Use the tools you are familiar with to create AI apps and manage them</a:t>
          </a:r>
        </a:p>
      </dsp:txBody>
      <dsp:txXfrm>
        <a:off x="608263" y="1059665"/>
        <a:ext cx="6565203" cy="853974"/>
      </dsp:txXfrm>
    </dsp:sp>
    <dsp:sp modelId="{3704830C-9128-264E-B3BE-CB0B4051AFC9}">
      <dsp:nvSpPr>
        <dsp:cNvPr id="0" name=""/>
        <dsp:cNvSpPr/>
      </dsp:nvSpPr>
      <dsp:spPr>
        <a:xfrm>
          <a:off x="1163390" y="2066195"/>
          <a:ext cx="7789655" cy="90711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solidFill>
                <a:srgbClr val="2B27A3"/>
              </a:solidFill>
            </a:rPr>
            <a:t>Ease of deployment: </a:t>
          </a:r>
          <a:r>
            <a:rPr lang="en-US" sz="2000" kern="1200"/>
            <a:t>Deploy the model easily</a:t>
          </a:r>
        </a:p>
      </dsp:txBody>
      <dsp:txXfrm>
        <a:off x="1189958" y="2092763"/>
        <a:ext cx="6565203" cy="853974"/>
      </dsp:txXfrm>
    </dsp:sp>
    <dsp:sp modelId="{99B68674-5310-6644-84F6-2B8B84682DAB}">
      <dsp:nvSpPr>
        <dsp:cNvPr id="0" name=""/>
        <dsp:cNvSpPr/>
      </dsp:nvSpPr>
      <dsp:spPr>
        <a:xfrm>
          <a:off x="1745085" y="3099293"/>
          <a:ext cx="7789655" cy="90711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solidFill>
                <a:srgbClr val="2B27A3"/>
              </a:solidFill>
            </a:rPr>
            <a:t>Reach of Deployment: </a:t>
          </a:r>
          <a:r>
            <a:rPr lang="en-US" sz="2000" kern="1200"/>
            <a:t>Deploy the model anywhere</a:t>
          </a:r>
        </a:p>
      </dsp:txBody>
      <dsp:txXfrm>
        <a:off x="1771653" y="3125861"/>
        <a:ext cx="6565203" cy="853974"/>
      </dsp:txXfrm>
    </dsp:sp>
    <dsp:sp modelId="{C5D5C261-A79E-BE4E-8FB8-66957273B753}">
      <dsp:nvSpPr>
        <dsp:cNvPr id="0" name=""/>
        <dsp:cNvSpPr/>
      </dsp:nvSpPr>
      <dsp:spPr>
        <a:xfrm>
          <a:off x="2326780" y="4132390"/>
          <a:ext cx="7789655" cy="90711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rgbClr val="2B27A3"/>
              </a:solidFill>
            </a:rPr>
            <a:t>Single pane of glass for monitoring and management: </a:t>
          </a:r>
          <a:r>
            <a:rPr lang="en-US" sz="2000" kern="1200" dirty="0"/>
            <a:t>All your AI models in one place </a:t>
          </a:r>
        </a:p>
      </dsp:txBody>
      <dsp:txXfrm>
        <a:off x="2353348" y="4158958"/>
        <a:ext cx="6565203" cy="853974"/>
      </dsp:txXfrm>
    </dsp:sp>
    <dsp:sp modelId="{5722C6CA-50F3-6445-988B-E3670BDFC9A5}">
      <dsp:nvSpPr>
        <dsp:cNvPr id="0" name=""/>
        <dsp:cNvSpPr/>
      </dsp:nvSpPr>
      <dsp:spPr>
        <a:xfrm>
          <a:off x="7200034" y="662694"/>
          <a:ext cx="589621" cy="589621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/>
        </a:p>
      </dsp:txBody>
      <dsp:txXfrm>
        <a:off x="7332699" y="662694"/>
        <a:ext cx="324291" cy="443690"/>
      </dsp:txXfrm>
    </dsp:sp>
    <dsp:sp modelId="{FF2143F7-5C67-B34C-9E08-B2D56CB46538}">
      <dsp:nvSpPr>
        <dsp:cNvPr id="0" name=""/>
        <dsp:cNvSpPr/>
      </dsp:nvSpPr>
      <dsp:spPr>
        <a:xfrm>
          <a:off x="7781729" y="1695792"/>
          <a:ext cx="589621" cy="589621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/>
        </a:p>
      </dsp:txBody>
      <dsp:txXfrm>
        <a:off x="7914394" y="1695792"/>
        <a:ext cx="324291" cy="443690"/>
      </dsp:txXfrm>
    </dsp:sp>
    <dsp:sp modelId="{32C10A08-4401-094D-A52A-4FC2DEBD0F9D}">
      <dsp:nvSpPr>
        <dsp:cNvPr id="0" name=""/>
        <dsp:cNvSpPr/>
      </dsp:nvSpPr>
      <dsp:spPr>
        <a:xfrm>
          <a:off x="8363424" y="2713771"/>
          <a:ext cx="589621" cy="589621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/>
        </a:p>
      </dsp:txBody>
      <dsp:txXfrm>
        <a:off x="8496089" y="2713771"/>
        <a:ext cx="324291" cy="443690"/>
      </dsp:txXfrm>
    </dsp:sp>
    <dsp:sp modelId="{2F6F6754-A424-734A-B05D-5EF86DF1726A}">
      <dsp:nvSpPr>
        <dsp:cNvPr id="0" name=""/>
        <dsp:cNvSpPr/>
      </dsp:nvSpPr>
      <dsp:spPr>
        <a:xfrm>
          <a:off x="8945119" y="3756947"/>
          <a:ext cx="589621" cy="589621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/>
        </a:p>
      </dsp:txBody>
      <dsp:txXfrm>
        <a:off x="9077784" y="3756947"/>
        <a:ext cx="324291" cy="4436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F7EE58-75D9-4CB1-BF36-F0705089CCFE}" type="datetimeFigureOut">
              <a:rPr lang="zh-CN" altLang="en-US" smtClean="0"/>
              <a:t>2018/11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5602C-2FAB-460F-A28D-6CBB01FC1C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4879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430C9-2443-4FD6-9162-F44D32FAF9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9081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ay Leadership Summit 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794F2F-2845-4F2F-BA4F-8CD7648ACC3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22/2018 5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44219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</a:t>
            </a:r>
            <a:r>
              <a:rPr lang="en-US" baseline="0" dirty="0"/>
              <a:t> will have a booth outside at PyCon to introduce MS Learn, and help them set up an account. People who earn a badge on MS Learn can set the screenshot to mslearnhk@outlook.com, we will send them a box of dev swag (t shirt, stickers, pins, premium </a:t>
            </a:r>
            <a:r>
              <a:rPr lang="en-US" baseline="0" dirty="0" err="1"/>
              <a:t>etc</a:t>
            </a:r>
            <a:r>
              <a:rPr lang="en-US" baseline="0" dirty="0">
                <a:sym typeface="Wingdings" panose="05000000000000000000" pitchFamily="2" charset="2"/>
              </a:rPr>
              <a:t>)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ay Leadership Summit 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794F2F-2845-4F2F-BA4F-8CD7648ACC3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22/2018 5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3544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Not to be confused with model weights that change during the training proc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DB90C2-81C5-4B46-98C3-AE1785B4D75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7703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DB90C2-81C5-4B46-98C3-AE1785B4D75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0703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0C13B-05BA-4D79-9126-CD4C5972E7C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0075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21/2018 5:1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52559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dirty="0"/>
              <a:t>Key</a:t>
            </a:r>
            <a:r>
              <a:rPr lang="en-US" sz="1000" baseline="0" dirty="0"/>
              <a:t> point: MS Learn is a technical learning platform recently launched at Ignite 2018.  </a:t>
            </a: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F4146C-E4DD-4A59-BD51-24B8416D7EE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6935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-install, browser-based scripting environmen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Validates learning and skills through task validation in the Azure environment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ay Leadership Summit 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794F2F-2845-4F2F-BA4F-8CD7648ACC3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22/2018 5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24050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ccurate completion unlocks achievement and allows learner to move on to the next step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F4146C-E4DD-4A59-BD51-24B8416D7EE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4422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ay Leadership Summit 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794F2F-2845-4F2F-BA4F-8CD7648ACC3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22/2018 5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607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2.svg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6.png"/><Relationship Id="rId4" Type="http://schemas.openxmlformats.org/officeDocument/2006/relationships/image" Target="../media/image22.sv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0.emf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9.pn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4.pn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3.bin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9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5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034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8184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578460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3123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72889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84218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052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23445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76463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36917096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3511679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26414716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61444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735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87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291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08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09744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66186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229451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8049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53953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689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5936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473876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60826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0079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013EEE-40A4-4C8B-BDCF-F7D8AE7D3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E0A6C-63D5-4AFD-B317-1B111D3BD7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965467-62BA-42F8-AB84-FE987144DE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5F3DF3-DAAC-4595-A84E-0B7D9AF979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E777A-41D6-4796-804C-C96702868041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031C52-2F0B-466F-9B52-B3D9A41358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90B1D8-CF63-4D23-AA11-BA74739A2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3476C-D7E4-4CDA-907A-58F6CB65A4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99298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0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0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6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749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1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562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69"/>
            <a:ext cx="11018520" cy="1612768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56" indent="0">
              <a:buNone/>
              <a:defRPr/>
            </a:lvl2pPr>
            <a:lvl3pPr marL="457112" indent="0">
              <a:buNone/>
              <a:defRPr/>
            </a:lvl3pPr>
            <a:lvl4pPr marL="685668" indent="0">
              <a:buNone/>
              <a:defRPr/>
            </a:lvl4pPr>
            <a:lvl5pPr marL="91422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12654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16127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8012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39" indent="0">
              <a:buFont typeface="Wingdings" panose="05000000000000000000" pitchFamily="2" charset="2"/>
              <a:buNone/>
              <a:defRPr sz="2000" b="0"/>
            </a:lvl2pPr>
            <a:lvl3pPr marL="450764" indent="0">
              <a:buFont typeface="Wingdings" panose="05000000000000000000" pitchFamily="2" charset="2"/>
              <a:buNone/>
              <a:tabLst/>
              <a:defRPr sz="1600" b="0"/>
            </a:lvl3pPr>
            <a:lvl4pPr marL="652337" indent="0">
              <a:buFont typeface="Wingdings" panose="05000000000000000000" pitchFamily="2" charset="2"/>
              <a:buNone/>
              <a:defRPr sz="1400" b="0"/>
            </a:lvl4pPr>
            <a:lvl5pPr marL="853911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2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39" indent="0">
              <a:buFont typeface="Wingdings" panose="05000000000000000000" pitchFamily="2" charset="2"/>
              <a:buNone/>
              <a:defRPr sz="2000" b="0"/>
            </a:lvl2pPr>
            <a:lvl3pPr marL="450764" indent="0">
              <a:buFont typeface="Wingdings" panose="05000000000000000000" pitchFamily="2" charset="2"/>
              <a:buNone/>
              <a:tabLst/>
              <a:defRPr sz="1600" b="0"/>
            </a:lvl3pPr>
            <a:lvl4pPr marL="652337" indent="0">
              <a:buFont typeface="Wingdings" panose="05000000000000000000" pitchFamily="2" charset="2"/>
              <a:buNone/>
              <a:defRPr sz="1400" b="0"/>
            </a:lvl4pPr>
            <a:lvl5pPr marL="853911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387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0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1600" b="0"/>
            </a:lvl3pPr>
            <a:lvl4pPr marL="828516" indent="-176180">
              <a:buFont typeface="Wingdings" panose="05000000000000000000" pitchFamily="2" charset="2"/>
              <a:buChar char=""/>
              <a:defRPr sz="1400" b="0"/>
            </a:lvl4pPr>
            <a:lvl5pPr marL="1023741" indent="-169830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0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1600" b="0"/>
            </a:lvl3pPr>
            <a:lvl4pPr marL="828516" indent="-176180">
              <a:buFont typeface="Wingdings" panose="05000000000000000000" pitchFamily="2" charset="2"/>
              <a:buChar char=""/>
              <a:defRPr sz="1400" b="0"/>
            </a:lvl4pPr>
            <a:lvl5pPr marL="1023741" indent="-169830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4262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1667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9787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196288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9431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025651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2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556" indent="0">
              <a:buNone/>
              <a:defRPr/>
            </a:lvl2pPr>
            <a:lvl3pPr marL="457112" indent="0">
              <a:buNone/>
              <a:defRPr/>
            </a:lvl3pPr>
            <a:lvl4pPr marL="661861" indent="0">
              <a:buNone/>
              <a:defRPr/>
            </a:lvl4pPr>
            <a:lvl5pPr marL="85549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4219640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6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1696219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1010772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0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170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0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212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2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95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3353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6008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498780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89071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3249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9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6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5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54529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58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69039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9991980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525998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8264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43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3" y="289512"/>
            <a:ext cx="6904778" cy="899665"/>
          </a:xfrm>
        </p:spPr>
        <p:txBody>
          <a:bodyPr/>
          <a:lstStyle>
            <a:lvl1pPr>
              <a:defRPr sz="39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54" indent="0">
              <a:buNone/>
              <a:defRPr/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0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6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02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11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2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60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41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31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28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28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48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842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553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9B15C-D2EE-4202-99B2-C617942729D0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04986-A44D-42E8-B722-A19F6E69D4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65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anted Accent Color - 1 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0"/>
          <p:cNvSpPr/>
          <p:nvPr userDrawn="1"/>
        </p:nvSpPr>
        <p:spPr bwMode="auto">
          <a:xfrm rot="10800000">
            <a:off x="1" y="0"/>
            <a:ext cx="6524563" cy="6858000"/>
          </a:xfrm>
          <a:custGeom>
            <a:avLst/>
            <a:gdLst>
              <a:gd name="connsiteX0" fmla="*/ 1457721 w 8182218"/>
              <a:gd name="connsiteY0" fmla="*/ 0 h 6858002"/>
              <a:gd name="connsiteX1" fmla="*/ 4044813 w 8182218"/>
              <a:gd name="connsiteY1" fmla="*/ 0 h 6858002"/>
              <a:gd name="connsiteX2" fmla="*/ 5476196 w 8182218"/>
              <a:gd name="connsiteY2" fmla="*/ 0 h 6858002"/>
              <a:gd name="connsiteX3" fmla="*/ 8182218 w 8182218"/>
              <a:gd name="connsiteY3" fmla="*/ 0 h 6858002"/>
              <a:gd name="connsiteX4" fmla="*/ 8182218 w 8182218"/>
              <a:gd name="connsiteY4" fmla="*/ 6858002 h 6858002"/>
              <a:gd name="connsiteX5" fmla="*/ 5476196 w 8182218"/>
              <a:gd name="connsiteY5" fmla="*/ 6858002 h 6858002"/>
              <a:gd name="connsiteX6" fmla="*/ 4044813 w 8182218"/>
              <a:gd name="connsiteY6" fmla="*/ 6858002 h 6858002"/>
              <a:gd name="connsiteX7" fmla="*/ 0 w 8182218"/>
              <a:gd name="connsiteY7" fmla="*/ 6858002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82218" h="6858002">
                <a:moveTo>
                  <a:pt x="1457721" y="0"/>
                </a:moveTo>
                <a:lnTo>
                  <a:pt x="4044813" y="0"/>
                </a:lnTo>
                <a:lnTo>
                  <a:pt x="5476196" y="0"/>
                </a:lnTo>
                <a:lnTo>
                  <a:pt x="8182218" y="0"/>
                </a:lnTo>
                <a:lnTo>
                  <a:pt x="8182218" y="6858002"/>
                </a:lnTo>
                <a:lnTo>
                  <a:pt x="5476196" y="6858002"/>
                </a:lnTo>
                <a:lnTo>
                  <a:pt x="4044813" y="6858002"/>
                </a:lnTo>
                <a:lnTo>
                  <a:pt x="0" y="6858002"/>
                </a:ln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2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5826759" cy="899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9240" y="1189177"/>
            <a:ext cx="5826760" cy="2086918"/>
          </a:xfrm>
        </p:spPr>
        <p:txBody>
          <a:bodyPr/>
          <a:lstStyle>
            <a:lvl1pPr marL="0" indent="0">
              <a:buNone/>
              <a:defRPr sz="40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400"/>
            </a:lvl2pPr>
            <a:lvl3pPr marL="224097" indent="0">
              <a:buNone/>
              <a:defRPr sz="2000"/>
            </a:lvl3pPr>
            <a:lvl4pPr marL="448193" indent="0">
              <a:buNone/>
              <a:defRPr sz="1800"/>
            </a:lvl4pPr>
            <a:lvl5pPr marL="672290" indent="0">
              <a:buNone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87336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advTm="5000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74286"/>
          </a:xfrm>
        </p:spPr>
        <p:txBody>
          <a:bodyPr>
            <a:spAutoFit/>
          </a:bodyPr>
          <a:lstStyle>
            <a:lvl1pPr>
              <a:defRPr sz="40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0870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7919195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91241">
                      <a:schemeClr val="tx1"/>
                    </a:gs>
                    <a:gs pos="57000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36015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38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9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>
                <a:solidFill>
                  <a:srgbClr val="505050"/>
                </a:solidFill>
              </a:rPr>
              <a:t>Microsoft Confidential - INTERNAL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#›</a:t>
            </a:fld>
            <a:endParaRPr>
              <a:solidFill>
                <a:srgbClr val="50505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4" y="259792"/>
            <a:ext cx="11005512" cy="1075884"/>
          </a:xfrm>
        </p:spPr>
        <p:txBody>
          <a:bodyPr lIns="0" tIns="91388" rIns="146220" bIns="91388"/>
          <a:lstStyle>
            <a:lvl1pPr>
              <a:lnSpc>
                <a:spcPts val="4802"/>
              </a:lnSpc>
              <a:defRPr sz="3529" baseline="0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.</a:t>
            </a:r>
          </a:p>
        </p:txBody>
      </p:sp>
    </p:spTree>
    <p:extLst>
      <p:ext uri="{BB962C8B-B14F-4D97-AF65-F5344CB8AC3E}">
        <p14:creationId xmlns:p14="http://schemas.microsoft.com/office/powerpoint/2010/main" val="28139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00">
        <p:fade/>
      </p:transition>
    </mc:Choice>
    <mc:Fallback xmlns="">
      <p:transition spd="slow" advTm="5000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91241">
                      <a:schemeClr val="tx1"/>
                    </a:gs>
                    <a:gs pos="57000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91241">
                      <a:schemeClr val="tx1"/>
                    </a:gs>
                    <a:gs pos="57000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24713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lIns="91429" tIns="45714" rIns="91429" bIns="45714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Confidential</a:t>
            </a:r>
          </a:p>
        </p:txBody>
      </p:sp>
      <p:pic>
        <p:nvPicPr>
          <p:cNvPr id="7" name="圖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018" y="174625"/>
            <a:ext cx="1352549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投影片編號版面配置區 5"/>
          <p:cNvSpPr txBox="1">
            <a:spLocks/>
          </p:cNvSpPr>
          <p:nvPr userDrawn="1"/>
        </p:nvSpPr>
        <p:spPr>
          <a:xfrm>
            <a:off x="9107851" y="6376245"/>
            <a:ext cx="2844800" cy="365125"/>
          </a:xfrm>
          <a:prstGeom prst="rect">
            <a:avLst/>
          </a:prstGeom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kumimoji="0" sz="1200" kern="1200">
                <a:solidFill>
                  <a:srgbClr val="898989"/>
                </a:solidFill>
                <a:latin typeface="+mj-lt"/>
                <a:ea typeface="MS PGothic" pitchFamily="34" charset="-128"/>
                <a:cs typeface="+mn-cs"/>
                <a:sym typeface="Times New Roman" pitchFamily="18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rgbClr val="F2F2F2"/>
                </a:solidFill>
                <a:latin typeface="Calibri" pitchFamily="34" charset="0"/>
                <a:ea typeface="新細明體" pitchFamily="18" charset="-120"/>
                <a:cs typeface="+mn-cs"/>
                <a:sym typeface="Times New Roman" pitchFamily="18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rgbClr val="F2F2F2"/>
                </a:solidFill>
                <a:latin typeface="Calibri" pitchFamily="34" charset="0"/>
                <a:ea typeface="新細明體" pitchFamily="18" charset="-120"/>
                <a:cs typeface="+mn-cs"/>
                <a:sym typeface="Times New Roman" pitchFamily="18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rgbClr val="F2F2F2"/>
                </a:solidFill>
                <a:latin typeface="Calibri" pitchFamily="34" charset="0"/>
                <a:ea typeface="新細明體" pitchFamily="18" charset="-120"/>
                <a:cs typeface="+mn-cs"/>
                <a:sym typeface="Times New Roman" pitchFamily="18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rgbClr val="F2F2F2"/>
                </a:solidFill>
                <a:latin typeface="Calibri" pitchFamily="34" charset="0"/>
                <a:ea typeface="新細明體" pitchFamily="18" charset="-120"/>
                <a:cs typeface="+mn-cs"/>
                <a:sym typeface="Times New Roman" pitchFamily="18" charset="0"/>
              </a:defRPr>
            </a:lvl5pPr>
            <a:lvl6pPr marL="2286000" algn="l" defTabSz="914400" rtl="0" eaLnBrk="1" latinLnBrk="0" hangingPunct="1">
              <a:defRPr kumimoji="1" sz="1400" kern="1200">
                <a:solidFill>
                  <a:srgbClr val="F2F2F2"/>
                </a:solidFill>
                <a:latin typeface="Calibri" pitchFamily="34" charset="0"/>
                <a:ea typeface="新細明體" pitchFamily="18" charset="-120"/>
                <a:cs typeface="+mn-cs"/>
                <a:sym typeface="Times New Roman" pitchFamily="18" charset="0"/>
              </a:defRPr>
            </a:lvl6pPr>
            <a:lvl7pPr marL="2743200" algn="l" defTabSz="914400" rtl="0" eaLnBrk="1" latinLnBrk="0" hangingPunct="1">
              <a:defRPr kumimoji="1" sz="1400" kern="1200">
                <a:solidFill>
                  <a:srgbClr val="F2F2F2"/>
                </a:solidFill>
                <a:latin typeface="Calibri" pitchFamily="34" charset="0"/>
                <a:ea typeface="新細明體" pitchFamily="18" charset="-120"/>
                <a:cs typeface="+mn-cs"/>
                <a:sym typeface="Times New Roman" pitchFamily="18" charset="0"/>
              </a:defRPr>
            </a:lvl7pPr>
            <a:lvl8pPr marL="3200400" algn="l" defTabSz="914400" rtl="0" eaLnBrk="1" latinLnBrk="0" hangingPunct="1">
              <a:defRPr kumimoji="1" sz="1400" kern="1200">
                <a:solidFill>
                  <a:srgbClr val="F2F2F2"/>
                </a:solidFill>
                <a:latin typeface="Calibri" pitchFamily="34" charset="0"/>
                <a:ea typeface="新細明體" pitchFamily="18" charset="-120"/>
                <a:cs typeface="+mn-cs"/>
                <a:sym typeface="Times New Roman" pitchFamily="18" charset="0"/>
              </a:defRPr>
            </a:lvl8pPr>
            <a:lvl9pPr marL="3657600" algn="l" defTabSz="914400" rtl="0" eaLnBrk="1" latinLnBrk="0" hangingPunct="1">
              <a:defRPr kumimoji="1" sz="1400" kern="1200">
                <a:solidFill>
                  <a:srgbClr val="F2F2F2"/>
                </a:solidFill>
                <a:latin typeface="Calibri" pitchFamily="34" charset="0"/>
                <a:ea typeface="新細明體" pitchFamily="18" charset="-120"/>
                <a:cs typeface="+mn-cs"/>
                <a:sym typeface="Times New Roman" pitchFamily="18" charset="0"/>
              </a:defRPr>
            </a:lvl9pPr>
          </a:lstStyle>
          <a:p>
            <a:pPr>
              <a:defRPr/>
            </a:pPr>
            <a:r>
              <a:rPr lang="en-US" altLang="zh-TW" sz="1200"/>
              <a:t>p</a:t>
            </a:r>
            <a:fld id="{BFC24AC1-E10B-45AA-A20A-6A97501577C7}" type="slidenum">
              <a:rPr lang="zh-TW" altLang="en-US" sz="1200" smtClean="0"/>
              <a:pPr>
                <a:defRPr/>
              </a:pPr>
              <a:t>‹#›</a:t>
            </a:fld>
            <a:endParaRPr lang="en-US" altLang="zh-TW" sz="1200"/>
          </a:p>
        </p:txBody>
      </p:sp>
    </p:spTree>
    <p:extLst>
      <p:ext uri="{BB962C8B-B14F-4D97-AF65-F5344CB8AC3E}">
        <p14:creationId xmlns:p14="http://schemas.microsoft.com/office/powerpoint/2010/main" val="438551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093009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471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79259" rIns="179259" bIns="179259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18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181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0555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942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lan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1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5849066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FDC4B1-0785-4203-90B0-3586BA986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692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12DACC-3558-4EAF-B807-7C520DCF91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084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quare photo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 descr="Group of people in an office working." title="Microsoft Brand Photo">
            <a:extLst>
              <a:ext uri="{FF2B5EF4-FFF2-40B4-BE49-F238E27FC236}">
                <a16:creationId xmlns:a16="http://schemas.microsoft.com/office/drawing/2014/main" id="{31FDC4B1-0785-4203-90B0-3586BA986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14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 descr="Group of people in an office working." title="Microsoft Brand Photo">
            <a:extLst>
              <a:ext uri="{FF2B5EF4-FFF2-40B4-BE49-F238E27FC236}">
                <a16:creationId xmlns:a16="http://schemas.microsoft.com/office/drawing/2014/main" id="{D112DACC-3558-4EAF-B807-7C520DCF91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756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101289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8382561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327107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3555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07144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227034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33821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21816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59043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78284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3406551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35425261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27488614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83483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232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388831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769821"/>
            <a:ext cx="388831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771657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1.48148E-6 L 0.02916 1.48148E-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5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1.48148E-6 L 0.02916 1.48148E-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5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3.125E-6 1.48148E-6 L 0.02916 1.48148E-6 " pathEditMode="relative" rAng="0" ptsTypes="AA">
                      <p:cBhvr>
                        <p:cTn dur="500" spd="-100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458" y="0"/>
                    </p:animMotion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997622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9448564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150954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23144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3432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848104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2458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815083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077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54" indent="0">
              <a:buNone/>
              <a:defRPr/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3938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 descr="Group of people in an office working." title="Microsoft Brand Photo">
            <a:extLst>
              <a:ext uri="{FF2B5EF4-FFF2-40B4-BE49-F238E27FC236}">
                <a16:creationId xmlns:a16="http://schemas.microsoft.com/office/drawing/2014/main" id="{31FDC4B1-0785-4203-90B0-3586BA986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614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8662680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ser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Placeholder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18075" y="-4979"/>
            <a:ext cx="6273925" cy="5684621"/>
          </a:xfrm>
          <a:prstGeom prst="rect">
            <a:avLst/>
          </a:prstGeom>
        </p:spPr>
      </p:pic>
      <p:sp>
        <p:nvSpPr>
          <p:cNvPr id="20" name="Picture Placeholder 144"/>
          <p:cNvSpPr>
            <a:spLocks noGrp="1"/>
          </p:cNvSpPr>
          <p:nvPr>
            <p:ph type="pic" sz="quarter" idx="20" hasCustomPrompt="1"/>
          </p:nvPr>
        </p:nvSpPr>
        <p:spPr>
          <a:xfrm>
            <a:off x="5918075" y="0"/>
            <a:ext cx="6273925" cy="568462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13786" y="851200"/>
            <a:ext cx="4699724" cy="10435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32"/>
          <p:cNvSpPr>
            <a:spLocks noGrp="1"/>
          </p:cNvSpPr>
          <p:nvPr>
            <p:ph type="body" sz="quarter" idx="11"/>
          </p:nvPr>
        </p:nvSpPr>
        <p:spPr>
          <a:xfrm>
            <a:off x="622300" y="1930399"/>
            <a:ext cx="4724400" cy="3382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800"/>
              </a:lnSpc>
              <a:buNone/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13962495" y="10026650"/>
            <a:ext cx="0" cy="635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 userDrawn="1"/>
        </p:nvSpPr>
        <p:spPr>
          <a:xfrm>
            <a:off x="0" y="5689600"/>
            <a:ext cx="121920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136"/>
          <p:cNvSpPr>
            <a:spLocks noGrp="1"/>
          </p:cNvSpPr>
          <p:nvPr>
            <p:ph type="body" sz="quarter" idx="35"/>
          </p:nvPr>
        </p:nvSpPr>
        <p:spPr>
          <a:xfrm>
            <a:off x="10933315" y="6301905"/>
            <a:ext cx="840508" cy="3829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0523604" y="5930900"/>
            <a:ext cx="0" cy="635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icture Placeholder 144"/>
          <p:cNvSpPr>
            <a:spLocks noGrp="1"/>
          </p:cNvSpPr>
          <p:nvPr>
            <p:ph type="pic" sz="quarter" idx="36" hasCustomPrompt="1"/>
          </p:nvPr>
        </p:nvSpPr>
        <p:spPr>
          <a:xfrm>
            <a:off x="202498" y="5884716"/>
            <a:ext cx="2064635" cy="83437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sz="1600">
                <a:solidFill>
                  <a:srgbClr val="7030A0"/>
                </a:solidFill>
              </a:defRPr>
            </a:lvl1pPr>
          </a:lstStyle>
          <a:p>
            <a:r>
              <a:rPr lang="en-US"/>
              <a:t>Drag logo here</a:t>
            </a:r>
          </a:p>
        </p:txBody>
      </p:sp>
      <p:sp>
        <p:nvSpPr>
          <p:cNvPr id="55" name="Text Placeholder 136"/>
          <p:cNvSpPr>
            <a:spLocks noGrp="1"/>
          </p:cNvSpPr>
          <p:nvPr>
            <p:ph type="body" sz="quarter" idx="31"/>
          </p:nvPr>
        </p:nvSpPr>
        <p:spPr>
          <a:xfrm>
            <a:off x="8892839" y="6156112"/>
            <a:ext cx="805425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36"/>
          <p:cNvSpPr>
            <a:spLocks noGrp="1"/>
          </p:cNvSpPr>
          <p:nvPr>
            <p:ph type="body" sz="quarter" idx="32"/>
          </p:nvPr>
        </p:nvSpPr>
        <p:spPr>
          <a:xfrm>
            <a:off x="7302675" y="6181251"/>
            <a:ext cx="879812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36"/>
          <p:cNvSpPr>
            <a:spLocks noGrp="1"/>
          </p:cNvSpPr>
          <p:nvPr>
            <p:ph type="body" sz="quarter" idx="33"/>
          </p:nvPr>
        </p:nvSpPr>
        <p:spPr>
          <a:xfrm>
            <a:off x="5307250" y="6156112"/>
            <a:ext cx="988642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136"/>
          <p:cNvSpPr>
            <a:spLocks noGrp="1"/>
          </p:cNvSpPr>
          <p:nvPr>
            <p:ph type="body" sz="quarter" idx="34"/>
          </p:nvPr>
        </p:nvSpPr>
        <p:spPr>
          <a:xfrm>
            <a:off x="3087261" y="6171517"/>
            <a:ext cx="1505159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Box 59"/>
          <p:cNvSpPr txBox="1"/>
          <p:nvPr userDrawn="1"/>
        </p:nvSpPr>
        <p:spPr>
          <a:xfrm>
            <a:off x="3197994" y="5916409"/>
            <a:ext cx="148754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Products and Services</a:t>
            </a:r>
          </a:p>
        </p:txBody>
      </p:sp>
      <p:sp>
        <p:nvSpPr>
          <p:cNvPr id="61" name="TextBox 60"/>
          <p:cNvSpPr txBox="1"/>
          <p:nvPr userDrawn="1"/>
        </p:nvSpPr>
        <p:spPr>
          <a:xfrm>
            <a:off x="5294550" y="5912045"/>
            <a:ext cx="1247049" cy="155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Organization Size</a:t>
            </a:r>
          </a:p>
        </p:txBody>
      </p:sp>
      <p:sp>
        <p:nvSpPr>
          <p:cNvPr id="62" name="TextBox 61"/>
          <p:cNvSpPr txBox="1"/>
          <p:nvPr userDrawn="1"/>
        </p:nvSpPr>
        <p:spPr>
          <a:xfrm>
            <a:off x="7464535" y="5915827"/>
            <a:ext cx="98864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Industry</a:t>
            </a:r>
          </a:p>
        </p:txBody>
      </p:sp>
      <p:sp>
        <p:nvSpPr>
          <p:cNvPr id="63" name="TextBox 62"/>
          <p:cNvSpPr txBox="1"/>
          <p:nvPr userDrawn="1"/>
        </p:nvSpPr>
        <p:spPr>
          <a:xfrm>
            <a:off x="8994069" y="5930900"/>
            <a:ext cx="98864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Country</a:t>
            </a:r>
          </a:p>
        </p:txBody>
      </p:sp>
    </p:spTree>
    <p:extLst>
      <p:ext uri="{BB962C8B-B14F-4D97-AF65-F5344CB8AC3E}">
        <p14:creationId xmlns:p14="http://schemas.microsoft.com/office/powerpoint/2010/main" val="79327416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785812-DBB3-49A5-B9A5-226A70E58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2456283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gra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6414502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216393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0788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170383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529618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46205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47580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 descr="Group of people in an office working." title="Microsoft Brand Photo">
            <a:extLst>
              <a:ext uri="{FF2B5EF4-FFF2-40B4-BE49-F238E27FC236}">
                <a16:creationId xmlns:a16="http://schemas.microsoft.com/office/drawing/2014/main" id="{D112DACC-3558-4EAF-B807-7C520DCF91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508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70198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23677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56827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50106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7755930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1095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660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03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04185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12830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777766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908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4032303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0C272-8E66-429C-A9F7-1C4E612DB65F}"/>
              </a:ext>
            </a:extLst>
          </p:cNvPr>
          <p:cNvCxnSpPr>
            <a:cxnSpLocks/>
          </p:cNvCxnSpPr>
          <p:nvPr userDrawn="1"/>
        </p:nvCxnSpPr>
        <p:spPr>
          <a:xfrm>
            <a:off x="11895763" y="1817370"/>
            <a:ext cx="0" cy="710565"/>
          </a:xfrm>
          <a:prstGeom prst="line">
            <a:avLst/>
          </a:prstGeom>
          <a:ln>
            <a:solidFill>
              <a:srgbClr val="D83B0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86210CF-A0F8-409C-A4D3-027E8C0B2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6311"/>
          <a:stretch/>
        </p:blipFill>
        <p:spPr>
          <a:xfrm>
            <a:off x="8717519" y="1816159"/>
            <a:ext cx="3474481" cy="4149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506902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36EA2AC-FEA2-4901-8495-272A5FA7FC20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096FE2B-3270-4E2C-AD0E-3AB4FD1B86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73" b="6474"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94A5D7CE-1FED-4CEA-810D-4198E99242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821"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BF408BE-3FB0-4FA0-B683-0E647B7E04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214"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84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19360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24718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52694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960925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06301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025704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299320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9392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9E07265-7E47-481D-9C2B-6C8BF221FAA5}"/>
              </a:ext>
            </a:extLst>
          </p:cNvPr>
          <p:cNvGrpSpPr/>
          <p:nvPr userDrawn="1"/>
        </p:nvGrpSpPr>
        <p:grpSpPr>
          <a:xfrm>
            <a:off x="6194603" y="-1"/>
            <a:ext cx="5997398" cy="6858001"/>
            <a:chOff x="6194603" y="-1"/>
            <a:chExt cx="5997398" cy="6858001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5AE405F-E300-4B3D-9110-B06B758415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73" b="6474"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38D0436A-7978-419B-9760-5EFC6747DD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821"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7C68831-B0BD-42C1-AB2F-BEAC8CFD1F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214"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4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79051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2B071B18-AE3E-4C1A-8C40-38A79DBA86AA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874D211-CD8A-4B0E-B9C0-C2FF7D72BE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71513C0-489E-4E2E-9C12-D1DC6B98AB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84DC410-B12F-4706-B9C8-EBBBA766DA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4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9626637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3765DB89-7B31-44F9-9B76-2E06E7805A5E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8E8D605-B082-4C02-839C-9C18EA6541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E9382F8-B3AE-4F98-8782-19AA597713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D3278C9-22EA-4588-8125-8F64C455E53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0158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9ECE3688-F7FF-4D8A-BE15-6CEE4046B621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DA126B3-3793-49DF-951A-6BEC5934FF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DE8673A-798E-4BFA-88EE-4BCCF0BF21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05970F2A-65AD-4C60-92A1-97326C8B61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36588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A8E8A28C-CBDE-4C67-825F-C47808C9BDD6}"/>
              </a:ext>
            </a:extLst>
          </p:cNvPr>
          <p:cNvGrpSpPr/>
          <p:nvPr userDrawn="1"/>
        </p:nvGrpSpPr>
        <p:grpSpPr>
          <a:xfrm>
            <a:off x="6194603" y="0"/>
            <a:ext cx="5997398" cy="6858001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6ED7E4A-DB81-4ED7-82E1-34B79F3FF4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1E4BCF2-710C-4869-A4C5-C1345D5F2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7B7B7A20-BA31-44FA-9F1C-298649B34C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2564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52518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64965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8531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5909167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8178632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690657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9268" y="291068"/>
            <a:ext cx="6769045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9267" y="4773828"/>
            <a:ext cx="6769045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2000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98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2021716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1825784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5889771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491781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1">
    <p:bg>
      <p:bgPr>
        <a:solidFill>
          <a:srgbClr val="0018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20002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45640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5233815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735487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553049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4354430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6423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0935099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3376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4079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2244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05649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7159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8793053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Sub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5E480-06E3-466E-AB06-00AD3BF92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-541796"/>
            <a:ext cx="11656060" cy="350865"/>
          </a:xfrm>
        </p:spPr>
        <p:txBody>
          <a:bodyPr/>
          <a:lstStyle>
            <a:lvl1pPr>
              <a:defRPr sz="1200" b="0" spc="300">
                <a:latin typeface="+mn-lt"/>
              </a:defRPr>
            </a:lvl1pPr>
          </a:lstStyle>
          <a:p>
            <a:pPr lvl="0"/>
            <a:r>
              <a:rPr lang="en-US" dirty="0"/>
              <a:t>SUBHEAD 16 PT</a:t>
            </a:r>
          </a:p>
        </p:txBody>
      </p:sp>
    </p:spTree>
    <p:extLst>
      <p:ext uri="{BB962C8B-B14F-4D97-AF65-F5344CB8AC3E}">
        <p14:creationId xmlns:p14="http://schemas.microsoft.com/office/powerpoint/2010/main" val="215741715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2995652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7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7548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752291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8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59" tIns="143409" rIns="179259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© 2018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74164481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9176064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1645735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806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700418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679008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6449057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709843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Sub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5E480-06E3-466E-AB06-00AD3BF92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-541796"/>
            <a:ext cx="11656060" cy="350865"/>
          </a:xfrm>
        </p:spPr>
        <p:txBody>
          <a:bodyPr/>
          <a:lstStyle>
            <a:lvl1pPr>
              <a:defRPr sz="1200" b="0" spc="300">
                <a:latin typeface="+mn-lt"/>
              </a:defRPr>
            </a:lvl1pPr>
          </a:lstStyle>
          <a:p>
            <a:pPr lvl="0"/>
            <a:r>
              <a:rPr lang="en-US" dirty="0"/>
              <a:t>SUBHEAD 16 PT</a:t>
            </a:r>
          </a:p>
        </p:txBody>
      </p:sp>
    </p:spTree>
    <p:extLst>
      <p:ext uri="{BB962C8B-B14F-4D97-AF65-F5344CB8AC3E}">
        <p14:creationId xmlns:p14="http://schemas.microsoft.com/office/powerpoint/2010/main" val="73724521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8629255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ustom Layout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hape 134"/>
          <p:cNvSpPr txBox="1">
            <a:spLocks noGrp="1"/>
          </p:cNvSpPr>
          <p:nvPr>
            <p:ph type="title"/>
          </p:nvPr>
        </p:nvSpPr>
        <p:spPr>
          <a:xfrm>
            <a:off x="361536" y="367689"/>
            <a:ext cx="11487562" cy="549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rgbClr val="3F3F3F"/>
              </a:buClr>
              <a:buFont typeface="Arial"/>
              <a:buNone/>
              <a:defRPr sz="3600" b="1" i="0" u="none" strike="noStrike" cap="none">
                <a:solidFill>
                  <a:srgbClr val="3F3F3F"/>
                </a:solidFill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35" name="Shape 135"/>
          <p:cNvSpPr txBox="1">
            <a:spLocks noGrp="1"/>
          </p:cNvSpPr>
          <p:nvPr>
            <p:ph type="body" idx="1"/>
          </p:nvPr>
        </p:nvSpPr>
        <p:spPr>
          <a:xfrm>
            <a:off x="365694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body" idx="2"/>
          </p:nvPr>
        </p:nvSpPr>
        <p:spPr>
          <a:xfrm>
            <a:off x="4248085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7" name="Shape 137"/>
          <p:cNvSpPr txBox="1">
            <a:spLocks noGrp="1"/>
          </p:cNvSpPr>
          <p:nvPr>
            <p:ph type="body" idx="3"/>
          </p:nvPr>
        </p:nvSpPr>
        <p:spPr>
          <a:xfrm>
            <a:off x="8130475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Shape 138"/>
          <p:cNvSpPr txBox="1">
            <a:spLocks noGrp="1"/>
          </p:cNvSpPr>
          <p:nvPr>
            <p:ph type="sldNum" idx="12"/>
          </p:nvPr>
        </p:nvSpPr>
        <p:spPr>
          <a:xfrm>
            <a:off x="11581968" y="6446442"/>
            <a:ext cx="342899" cy="2972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US" sz="1000" smtClean="0">
                <a:solidFill>
                  <a:srgbClr val="262626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pPr algn="r">
                <a:buSzPct val="25000"/>
              </a:pPr>
              <a:t>‹#›</a:t>
            </a:fld>
            <a:endParaRPr lang="en-US" sz="1000">
              <a:solidFill>
                <a:srgbClr val="262626"/>
              </a:solidFill>
              <a:latin typeface="Source Sans Pro Light"/>
              <a:ea typeface="Source Sans Pro Light"/>
              <a:cs typeface="Source Sans Pro Light"/>
              <a:sym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2054465875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23408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Shape 22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7" name="Shape 227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4323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1867"/>
            </a:lvl1pPr>
            <a:lvl2pPr lvl="1" rtl="0">
              <a:spcBef>
                <a:spcPts val="0"/>
              </a:spcBef>
              <a:buSzPct val="100000"/>
              <a:defRPr sz="1600"/>
            </a:lvl2pPr>
            <a:lvl3pPr lvl="2" rtl="0">
              <a:spcBef>
                <a:spcPts val="0"/>
              </a:spcBef>
              <a:buSzPct val="100000"/>
              <a:defRPr sz="1600"/>
            </a:lvl3pPr>
            <a:lvl4pPr lvl="3" rtl="0">
              <a:spcBef>
                <a:spcPts val="0"/>
              </a:spcBef>
              <a:buSzPct val="100000"/>
              <a:defRPr sz="1600"/>
            </a:lvl4pPr>
            <a:lvl5pPr lvl="4" rtl="0">
              <a:spcBef>
                <a:spcPts val="0"/>
              </a:spcBef>
              <a:buSzPct val="100000"/>
              <a:defRPr sz="1600"/>
            </a:lvl5pPr>
            <a:lvl6pPr lvl="5" rtl="0">
              <a:spcBef>
                <a:spcPts val="0"/>
              </a:spcBef>
              <a:buSzPct val="100000"/>
              <a:defRPr sz="1600"/>
            </a:lvl6pPr>
            <a:lvl7pPr lvl="6" rtl="0">
              <a:spcBef>
                <a:spcPts val="0"/>
              </a:spcBef>
              <a:buSzPct val="100000"/>
              <a:defRPr sz="1600"/>
            </a:lvl7pPr>
            <a:lvl8pPr lvl="7" rtl="0">
              <a:spcBef>
                <a:spcPts val="0"/>
              </a:spcBef>
              <a:buSzPct val="100000"/>
              <a:defRPr sz="1600"/>
            </a:lvl8pPr>
            <a:lvl9pPr lvl="8" rtl="0">
              <a:spcBef>
                <a:spcPts val="0"/>
              </a:spcBef>
              <a:buSzPct val="100000"/>
              <a:defRPr sz="1600"/>
            </a:lvl9pPr>
          </a:lstStyle>
          <a:p>
            <a:endParaRPr/>
          </a:p>
        </p:txBody>
      </p:sp>
      <p:sp>
        <p:nvSpPr>
          <p:cNvPr id="228" name="Shape 228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4323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1867"/>
            </a:lvl1pPr>
            <a:lvl2pPr lvl="1" rtl="0">
              <a:spcBef>
                <a:spcPts val="0"/>
              </a:spcBef>
              <a:buSzPct val="100000"/>
              <a:defRPr sz="1600"/>
            </a:lvl2pPr>
            <a:lvl3pPr lvl="2" rtl="0">
              <a:spcBef>
                <a:spcPts val="0"/>
              </a:spcBef>
              <a:buSzPct val="100000"/>
              <a:defRPr sz="1600"/>
            </a:lvl3pPr>
            <a:lvl4pPr lvl="3" rtl="0">
              <a:spcBef>
                <a:spcPts val="0"/>
              </a:spcBef>
              <a:buSzPct val="100000"/>
              <a:defRPr sz="1600"/>
            </a:lvl4pPr>
            <a:lvl5pPr lvl="4" rtl="0">
              <a:spcBef>
                <a:spcPts val="0"/>
              </a:spcBef>
              <a:buSzPct val="100000"/>
              <a:defRPr sz="1600"/>
            </a:lvl5pPr>
            <a:lvl6pPr lvl="5" rtl="0">
              <a:spcBef>
                <a:spcPts val="0"/>
              </a:spcBef>
              <a:buSzPct val="100000"/>
              <a:defRPr sz="1600"/>
            </a:lvl6pPr>
            <a:lvl7pPr lvl="6" rtl="0">
              <a:spcBef>
                <a:spcPts val="0"/>
              </a:spcBef>
              <a:buSzPct val="100000"/>
              <a:defRPr sz="1600"/>
            </a:lvl7pPr>
            <a:lvl8pPr lvl="7" rtl="0">
              <a:spcBef>
                <a:spcPts val="0"/>
              </a:spcBef>
              <a:buSzPct val="100000"/>
              <a:defRPr sz="1600"/>
            </a:lvl8pPr>
            <a:lvl9pPr lvl="8" rtl="0">
              <a:spcBef>
                <a:spcPts val="0"/>
              </a:spcBef>
              <a:buSzPct val="100000"/>
              <a:defRPr sz="1600"/>
            </a:lvl9pPr>
          </a:lstStyle>
          <a:p>
            <a:endParaRPr/>
          </a:p>
        </p:txBody>
      </p:sp>
      <p:sp>
        <p:nvSpPr>
          <p:cNvPr id="229" name="Shape 229"/>
          <p:cNvSpPr txBox="1">
            <a:spLocks noGrp="1"/>
          </p:cNvSpPr>
          <p:nvPr>
            <p:ph type="sldNum" idx="12"/>
          </p:nvPr>
        </p:nvSpPr>
        <p:spPr>
          <a:xfrm>
            <a:off x="11296609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99248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021728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14CC1E-4F4F-4565-A4A3-14AD68EB0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6C8BCE-C66F-418F-A44B-F3F22898D3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A0670C-016D-480C-9A57-277B6BF3E0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2E13FE-8825-46A7-9841-ACC223069694}" type="datetime1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166230-421B-48D6-B79B-1E71DAA3E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29F62-CEB6-43F0-A4AA-1872E51388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46605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0DDB07-108E-4157-B58B-B7075E025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8D84E0-3365-4AF7-9F75-2EEE7B0385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63E1D1-46E3-4FD3-BC14-7365DF757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8A528-6D90-4E38-986B-39B9E23E8ECC}" type="datetime1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5A8DBD-1200-4C45-9F8D-8F9398F606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20A67F-431D-4E0E-9C4B-7D93B1369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 algn="l">
              <a:defRPr/>
            </a:lvl1pPr>
          </a:lstStyle>
          <a:p>
            <a:fld id="{55F1B289-E05A-41E1-8719-4CEA015183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79140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9331D-9441-4014-8CFF-D4DD5A665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223A85-6623-4B1F-8E52-E591F44993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3B56F8-AEE7-48E5-A36A-D4F4D7185E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C079-F5AA-45C6-8F3F-049B94082677}" type="datetime1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2CEDEF-93CA-4613-A890-F27549634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1E5275-ADE9-4C0E-A0AF-B6A499976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7581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047E0-0FA7-4631-9821-FF8643EAC2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D4A6EE-8EFC-4072-B244-9916A8DF3E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CAC3CE-39EF-473A-BA0E-B8DC62C843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593B71-D29A-4B65-8753-5D272DCC94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BEE0A-DB89-46DA-816D-2D874DD85BE7}" type="datetime1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4BA950-B2C9-48E7-9D0F-828B52F65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ADD9F9-F9F4-4BF0-8B93-1202A971B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37717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03705-B9AC-41EF-B71E-7BFDD6924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8B6E5A-6ACE-407F-868F-F26D39EA4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3383F7-561E-4B3B-BAA4-1F0C4AD7B4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7FD631-1D85-4736-B35A-80565B9A39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BFBB0B-585F-4E4D-81D4-36873761648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347D91-7EBE-4C1A-B123-666FE1BC5D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947C8-79FA-48E4-8EBA-165376AF4DF5}" type="datetime1">
              <a:rPr lang="en-US" smtClean="0"/>
              <a:t>11/21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637915A-833B-456B-B216-D8B729C87A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B391619-AF6C-49DF-B8DF-EB207D1B4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70767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95BEA-B025-4475-B5A3-D342B7BAE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C73BB3-657C-4DB2-AEEA-648A3F5EF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5E45F-434A-49DE-84CD-40E85B56F248}" type="datetime1">
              <a:rPr lang="en-US" smtClean="0"/>
              <a:t>11/21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88158E-3A5D-401A-9B7C-9B54DB226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9F33EC-DD94-4F4F-9B79-5890AA5FF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6612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A2366E96-06EA-42AD-ACFD-6343CFF44A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032108" y="6611879"/>
            <a:ext cx="1149350" cy="24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044345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437401-03F9-49F6-97E8-FBED13E43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D4B45F-E53F-4051-A3F2-8ADDAA5BD4D0}" type="datetime1">
              <a:rPr lang="en-US" smtClean="0"/>
              <a:t>11/21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537FC1-34BD-4DF9-80C9-5FA67D438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1A93DC-64C9-4FC7-9BD1-F37B06037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08919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6AACC8-B6FD-41AB-AAF7-4CB930B42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D542BF-3535-4AB8-8B92-3544D848E4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C7600B-3AC7-4C89-8CD0-9B115628AD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65FEF4-0D98-4081-AAE8-F8E00B86A7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A14E3-1EFC-494D-9E0B-230B913610AC}" type="datetime1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27A4EE-D506-4FAB-B014-34FB0BC139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04605F-FFF5-4634-9D2C-0917BF740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00290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193C6-FD0C-47E6-BF14-26C84D937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175E615-6462-4418-8847-9233B68AAD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B5F9B6-DB7B-41CD-BD6D-84EA2C3C8F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7D021A-6250-4D25-8B52-F5E28BE990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0CB50-AE27-40F2-9544-49789CF2BBC6}" type="datetime1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15950B-9B02-4CF2-B465-CC8437BBC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8747D3-F422-464C-8B4D-76E5C6CEB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3649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3C1BE-B6CA-41E6-A4E7-2E8219F850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3370BD-A7AF-4524-A61A-E4868BD20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72F95-C6DF-4CD8-8C09-89C7B28E7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38B9-0B13-4FCA-B890-916632CE8699}" type="datetime1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238DB7-BBC2-42B7-B87F-0294906A3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14444F-66AE-471F-87AB-CF894E81F1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3597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97AAE4A-E4F1-43F5-89C5-6FCB684C9CA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BD6833-649D-468B-AAAD-37F511519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046DAF-9730-4568-B938-3ACD0F0DA1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0F71E3-7723-478D-8E45-2BF74CF95872}" type="datetime1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996754-EE87-422B-B9B5-2E9E179C67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A5D648-D23F-422C-9BFC-F2B60D318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34595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622624-2BE8-4114-96E5-AAE96DE972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102B4D-17F5-4854-9109-DACFC8C5A7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C3613E-7673-4328-A0C6-672087B98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EDFDF-6D4F-4657-B794-EAAA8A904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85BCCF-F420-44A3-9FA9-A078C67AA1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62782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0E6108-8833-4F2A-A0E3-1201B041D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D6C158-AAB4-4494-8ECF-642F5148C2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41DA84-ABD8-4AA7-8941-74696A8DC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BF94C6-8108-48BF-B36F-A677C58CC6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42FA80-EBB3-414C-83A0-571A74141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2713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58B08-CCF9-4CF9-ABA7-0846EEB48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E0877-1D82-4A81-A13E-9971837BE0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942372-B01D-4938-8C90-0CC78B8C82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15D53B-EE0B-4B0C-9A3E-1D30D02AE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1FD252-43A0-4605-9F02-B618369F7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78487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7426F-6418-4AEB-8DCC-0D40021A61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D450E4-60E7-42F4-B431-A43946CF8F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53A5AF-1FFA-418F-83AC-1ED1937A0E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A56A4F-F3C0-4847-9EFF-63E6A8AF3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0A62C3-DCA7-44C0-B7B7-55722523F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21605E-C71F-4438-819A-F92F9F3BA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14952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36204-A4DA-44E9-A1CF-AC5B76FF3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631D99-9139-467B-A3F4-D7E0830317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095BD3-9131-403E-8BFE-E3863D60C7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8792DE-AD00-4118-8C1F-A059A42C36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A40D79-03C3-4EBF-AB0F-FD7436985C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D42A93-E3D3-4D07-B650-62B1447563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5B3073-D318-43DB-9EFB-49F242B1F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173E44-3FAC-432D-9980-6EA307EA2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8559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3B02034F-4DBF-4099-A2C0-052B8F2954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032108" y="6611879"/>
            <a:ext cx="1149350" cy="24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057123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9C3DD-8634-43B9-8368-CCDE72ED2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6CA6DE-9BE3-4331-9748-5D1710210C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6F57E9-C1CB-4133-AAA7-B7B1470C4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8AC8FD-73ED-446D-AC39-C8CBFE201E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10486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6C9D5A-3B1D-412F-86AE-04F410A26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ED66BB-73A9-4BA8-94D2-2875D16C3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6444DA-AC77-420B-981E-A272391C4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30372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734297-4C38-4E68-A995-BE5CEFCC71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5E741E-C680-41F8-AF45-ABEF7A10A6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0E1481-2D79-4B5C-97E7-BBB068EF70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1F6990-287B-4B85-8C46-3737044C61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B965ED-622D-4E6B-ADED-9B499E357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FC7272-4AB6-4CD0-9AAA-BCCA0D24D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48182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CA1E8-219F-42ED-BD28-25611ACAE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E66611-6A72-4203-861D-C3246942C0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AC9C75-05D4-404B-8590-D9DFEA1A25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E87393-7059-4B59-BDA9-44643D9449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791FD1-D9DA-4C1F-8472-2595E317D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27DCA1-3ABB-4A17-A811-5D060DA39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1732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964410-DBF4-46EA-B463-C8CB0EFA4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E140EC-0B5D-4553-B2CF-6AC0E2186E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3EEB9-7ADC-4F29-A821-A082C83FB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06735-A211-4DD3-849E-9FC5802E0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619935-FBF0-4DE2-BD01-CD02636EC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65423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AA896BE-0AD3-43DD-AB16-3F30EFE7BBE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A4A134E-53F1-4114-B25F-FB3CB86536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B60F68-0F6C-4240-A596-0BF3ABF081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26FD26-6C9E-46FC-AFBA-4D7E07524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D96886-6636-4A3A-83AA-70C41C915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63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5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8488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MS logo gray - EMF" descr="Microsoft logo, gray text version">
            <a:extLst>
              <a:ext uri="{FF2B5EF4-FFF2-40B4-BE49-F238E27FC236}">
                <a16:creationId xmlns:a16="http://schemas.microsoft.com/office/drawing/2014/main" id="{BEB4BFE6-816E-4B77-9744-3AD426BF6D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032108" y="6611879"/>
            <a:ext cx="1149350" cy="24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470217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640307009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860258288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3578045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11661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17270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9570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904199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3" name="MS logo white - EMF" descr="Microsoft logo white text version">
            <a:extLst>
              <a:ext uri="{FF2B5EF4-FFF2-40B4-BE49-F238E27FC236}">
                <a16:creationId xmlns:a16="http://schemas.microsoft.com/office/drawing/2014/main" id="{1510B443-FD35-493C-8692-6179E51921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0680700" y="6443663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17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62087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05" indent="0">
              <a:buFont typeface="Wingdings" panose="05000000000000000000" pitchFamily="2" charset="2"/>
              <a:buNone/>
              <a:defRPr sz="2353" b="0"/>
            </a:lvl2pPr>
            <a:lvl3pPr marL="441883" indent="0">
              <a:buFont typeface="Wingdings" panose="05000000000000000000" pitchFamily="2" charset="2"/>
              <a:buNone/>
              <a:tabLst/>
              <a:defRPr sz="2157" b="0"/>
            </a:lvl3pPr>
            <a:lvl4pPr marL="639485" indent="0">
              <a:buFont typeface="Wingdings" panose="05000000000000000000" pitchFamily="2" charset="2"/>
              <a:buNone/>
              <a:defRPr sz="2157" b="0"/>
            </a:lvl4pPr>
            <a:lvl5pPr marL="837089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5"/>
            <a:ext cx="5378548" cy="246221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05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83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85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089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120" marR="0" lvl="0" indent="-504120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120" marR="0" lvl="1" indent="-504120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120" marR="0" lvl="2" indent="-504120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120" marR="0" lvl="3" indent="-504120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120" marR="0" lvl="4" indent="-504120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8046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0230435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0502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Tm="5000"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8851949"/>
      </p:ext>
    </p:extLst>
  </p:cSld>
  <p:clrMapOvr>
    <a:masterClrMapping/>
  </p:clrMapOvr>
  <p:transition advTm="5000"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962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Tm="5000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4211472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Tm="5000"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C781E6-B314-4600-8EEF-4F4F33673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A01B1F-4F9A-4B0B-8B34-653903C9A1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12557A-479D-4202-B2D4-FC882579B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51EC9-0792-441D-A675-48ED16FD5399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4F0A0D-B510-4197-B9B9-5F6C52409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942131-5175-40FC-95E3-426E4ED98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A229-6B1B-466A-8EBF-E60D548FEF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53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rgbClr val="0089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1569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1036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ser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Placeholder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18075" y="-4979"/>
            <a:ext cx="6273925" cy="5684621"/>
          </a:xfrm>
          <a:prstGeom prst="rect">
            <a:avLst/>
          </a:prstGeom>
        </p:spPr>
      </p:pic>
      <p:sp>
        <p:nvSpPr>
          <p:cNvPr id="20" name="Picture Placeholder 144"/>
          <p:cNvSpPr>
            <a:spLocks noGrp="1"/>
          </p:cNvSpPr>
          <p:nvPr>
            <p:ph type="pic" sz="quarter" idx="20" hasCustomPrompt="1"/>
          </p:nvPr>
        </p:nvSpPr>
        <p:spPr>
          <a:xfrm>
            <a:off x="5918075" y="0"/>
            <a:ext cx="6273925" cy="568462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13786" y="851200"/>
            <a:ext cx="4699724" cy="10435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32"/>
          <p:cNvSpPr>
            <a:spLocks noGrp="1"/>
          </p:cNvSpPr>
          <p:nvPr>
            <p:ph type="body" sz="quarter" idx="11"/>
          </p:nvPr>
        </p:nvSpPr>
        <p:spPr>
          <a:xfrm>
            <a:off x="622300" y="1930399"/>
            <a:ext cx="4724400" cy="3382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800"/>
              </a:lnSpc>
              <a:buNone/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13962495" y="10026650"/>
            <a:ext cx="0" cy="635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 userDrawn="1"/>
        </p:nvSpPr>
        <p:spPr>
          <a:xfrm>
            <a:off x="0" y="5689600"/>
            <a:ext cx="121920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136"/>
          <p:cNvSpPr>
            <a:spLocks noGrp="1"/>
          </p:cNvSpPr>
          <p:nvPr>
            <p:ph type="body" sz="quarter" idx="35"/>
          </p:nvPr>
        </p:nvSpPr>
        <p:spPr>
          <a:xfrm>
            <a:off x="10933315" y="6301905"/>
            <a:ext cx="840508" cy="3829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0523604" y="5930900"/>
            <a:ext cx="0" cy="635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icture Placeholder 144"/>
          <p:cNvSpPr>
            <a:spLocks noGrp="1"/>
          </p:cNvSpPr>
          <p:nvPr>
            <p:ph type="pic" sz="quarter" idx="36" hasCustomPrompt="1"/>
          </p:nvPr>
        </p:nvSpPr>
        <p:spPr>
          <a:xfrm>
            <a:off x="202498" y="5884716"/>
            <a:ext cx="2064635" cy="83437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sz="1600">
                <a:solidFill>
                  <a:srgbClr val="7030A0"/>
                </a:solidFill>
              </a:defRPr>
            </a:lvl1pPr>
          </a:lstStyle>
          <a:p>
            <a:r>
              <a:rPr lang="en-US"/>
              <a:t>Drag logo here</a:t>
            </a:r>
          </a:p>
        </p:txBody>
      </p:sp>
      <p:sp>
        <p:nvSpPr>
          <p:cNvPr id="55" name="Text Placeholder 136"/>
          <p:cNvSpPr>
            <a:spLocks noGrp="1"/>
          </p:cNvSpPr>
          <p:nvPr>
            <p:ph type="body" sz="quarter" idx="31"/>
          </p:nvPr>
        </p:nvSpPr>
        <p:spPr>
          <a:xfrm>
            <a:off x="8892839" y="6156112"/>
            <a:ext cx="805425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36"/>
          <p:cNvSpPr>
            <a:spLocks noGrp="1"/>
          </p:cNvSpPr>
          <p:nvPr>
            <p:ph type="body" sz="quarter" idx="32"/>
          </p:nvPr>
        </p:nvSpPr>
        <p:spPr>
          <a:xfrm>
            <a:off x="7302675" y="6181251"/>
            <a:ext cx="879812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36"/>
          <p:cNvSpPr>
            <a:spLocks noGrp="1"/>
          </p:cNvSpPr>
          <p:nvPr>
            <p:ph type="body" sz="quarter" idx="33"/>
          </p:nvPr>
        </p:nvSpPr>
        <p:spPr>
          <a:xfrm>
            <a:off x="5307250" y="6156112"/>
            <a:ext cx="988642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136"/>
          <p:cNvSpPr>
            <a:spLocks noGrp="1"/>
          </p:cNvSpPr>
          <p:nvPr>
            <p:ph type="body" sz="quarter" idx="34"/>
          </p:nvPr>
        </p:nvSpPr>
        <p:spPr>
          <a:xfrm>
            <a:off x="3087261" y="6171517"/>
            <a:ext cx="1505159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Box 59"/>
          <p:cNvSpPr txBox="1"/>
          <p:nvPr userDrawn="1"/>
        </p:nvSpPr>
        <p:spPr>
          <a:xfrm>
            <a:off x="3197994" y="5916409"/>
            <a:ext cx="148754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Products and Services</a:t>
            </a:r>
          </a:p>
        </p:txBody>
      </p:sp>
      <p:sp>
        <p:nvSpPr>
          <p:cNvPr id="61" name="TextBox 60"/>
          <p:cNvSpPr txBox="1"/>
          <p:nvPr userDrawn="1"/>
        </p:nvSpPr>
        <p:spPr>
          <a:xfrm>
            <a:off x="5294550" y="5912045"/>
            <a:ext cx="1247049" cy="155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Organization Size</a:t>
            </a:r>
          </a:p>
        </p:txBody>
      </p:sp>
      <p:sp>
        <p:nvSpPr>
          <p:cNvPr id="62" name="TextBox 61"/>
          <p:cNvSpPr txBox="1"/>
          <p:nvPr userDrawn="1"/>
        </p:nvSpPr>
        <p:spPr>
          <a:xfrm>
            <a:off x="7464535" y="5915827"/>
            <a:ext cx="98864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Industry</a:t>
            </a:r>
          </a:p>
        </p:txBody>
      </p:sp>
      <p:sp>
        <p:nvSpPr>
          <p:cNvPr id="63" name="TextBox 62"/>
          <p:cNvSpPr txBox="1"/>
          <p:nvPr userDrawn="1"/>
        </p:nvSpPr>
        <p:spPr>
          <a:xfrm>
            <a:off x="8994069" y="5930900"/>
            <a:ext cx="98864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Country</a:t>
            </a:r>
          </a:p>
        </p:txBody>
      </p:sp>
    </p:spTree>
    <p:extLst>
      <p:ext uri="{BB962C8B-B14F-4D97-AF65-F5344CB8AC3E}">
        <p14:creationId xmlns:p14="http://schemas.microsoft.com/office/powerpoint/2010/main" val="2701359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785812-DBB3-49A5-B9A5-226A70E58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4630973"/>
      </p:ext>
    </p:extLst>
  </p:cSld>
  <p:clrMapOvr>
    <a:masterClrMapping/>
  </p:clrMapOvr>
  <p:transition advTm="5000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4"/>
            <a:ext cx="5378548" cy="2115402"/>
          </a:xfrm>
        </p:spPr>
        <p:txBody>
          <a:bodyPr wrap="square">
            <a:spAutoFit/>
          </a:bodyPr>
          <a:lstStyle>
            <a:lvl1pPr marL="227165" indent="-22716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545" indent="-168040">
              <a:buFont typeface="Wingdings" panose="05000000000000000000" pitchFamily="2" charset="2"/>
              <a:buChar char=""/>
              <a:defRPr sz="2353" b="0"/>
            </a:lvl2pPr>
            <a:lvl3pPr marL="627039" indent="-185155">
              <a:buFont typeface="Wingdings" panose="05000000000000000000" pitchFamily="2" charset="2"/>
              <a:buChar char=""/>
              <a:tabLst/>
              <a:defRPr sz="2157" b="0"/>
            </a:lvl3pPr>
            <a:lvl4pPr marL="812194" indent="-172709">
              <a:buFont typeface="Wingdings" panose="05000000000000000000" pitchFamily="2" charset="2"/>
              <a:buChar char=""/>
              <a:defRPr sz="2157" b="0"/>
            </a:lvl4pPr>
            <a:lvl5pPr marL="1003573" indent="-166485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5"/>
            <a:ext cx="5378548" cy="2462213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85" indent="-336080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963" indent="-336080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565" indent="-336080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170" indent="-336080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65" marR="0" lvl="0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65" marR="0" lvl="1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65" marR="0" lvl="2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65" marR="0" lvl="3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65" marR="0" lvl="4" indent="-227165" algn="l" defTabSz="91419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617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gra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9122199"/>
      </p:ext>
    </p:extLst>
  </p:cSld>
  <p:clrMapOvr>
    <a:masterClrMapping/>
  </p:clrMapOvr>
  <p:transition advTm="5000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974885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0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0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5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409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527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1915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5202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2326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1836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486268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02921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8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9221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861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200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073595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74792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49984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992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7023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526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967230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 Evid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69239" y="1406079"/>
            <a:ext cx="5378549" cy="1791549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095999" y="4773828"/>
            <a:ext cx="5829081" cy="179310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59" tIns="143407" rIns="179259" bIns="143407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961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096000" y="1406078"/>
            <a:ext cx="5826762" cy="3366196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871894" y="1801029"/>
            <a:ext cx="0" cy="4662019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69239" y="3197079"/>
            <a:ext cx="5378549" cy="3369853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353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096002" y="4773828"/>
            <a:ext cx="5826761" cy="1791549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136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6907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0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0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5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4001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1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017878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7339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925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160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37525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82650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61852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5077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2527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6627025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97020730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8003304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9757647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109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301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0289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9908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64003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1483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19814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396503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9728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68365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3897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861579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104132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4811B-F518-4DA7-83FE-A31A9EABD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800698-A7AA-467C-84AD-F7E4E2E64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3F6797-AD4C-48A0-9633-6A16948C67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C851A5-D9FF-4918-985C-8CC2614AB8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64159B-979B-4279-B015-0D503410C6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77F968-FAAF-48CE-B40D-67742F8F11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D06AC-BEF9-4CFA-94EC-BD68C51158B7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8D49A8-1933-404F-97F3-40DAC229C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F9A4AEA-FDB1-4AA5-8326-B8CD09DA9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C0C29F-636C-4A75-A3ED-D954FC2713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8761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キーワー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ine 7"/>
          <p:cNvSpPr>
            <a:spLocks noChangeShapeType="1"/>
          </p:cNvSpPr>
          <p:nvPr userDrawn="1"/>
        </p:nvSpPr>
        <p:spPr bwMode="gray">
          <a:xfrm>
            <a:off x="0" y="6381750"/>
            <a:ext cx="12192000" cy="0"/>
          </a:xfrm>
          <a:prstGeom prst="line">
            <a:avLst/>
          </a:prstGeom>
          <a:noFill/>
          <a:ln w="12700">
            <a:solidFill>
              <a:srgbClr val="B2B2B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9983" tIns="46791" rIns="89983" bIns="46791" anchor="ctr"/>
          <a:lstStyle/>
          <a:p>
            <a:pPr algn="ctr"/>
            <a:endParaRPr lang="ja-JP" altLang="en-US" sz="2500" dirty="0"/>
          </a:p>
        </p:txBody>
      </p:sp>
      <p:sp>
        <p:nvSpPr>
          <p:cNvPr id="7" name="スライド番号プレースホルダー 4"/>
          <p:cNvSpPr txBox="1">
            <a:spLocks/>
          </p:cNvSpPr>
          <p:nvPr userDrawn="1"/>
        </p:nvSpPr>
        <p:spPr>
          <a:xfrm>
            <a:off x="11377084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Myriad Pro" pitchFamily="34" charset="0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endParaRPr lang="en-US" altLang="ja-JP" sz="1100" dirty="0"/>
          </a:p>
        </p:txBody>
      </p:sp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2221" y="6430967"/>
            <a:ext cx="1225454" cy="396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37308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9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>
                <a:solidFill>
                  <a:srgbClr val="505050"/>
                </a:solidFill>
              </a:rPr>
              <a:t>Microsoft Confidential - INTERNAL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#›</a:t>
            </a:fld>
            <a:endParaRPr>
              <a:solidFill>
                <a:srgbClr val="50505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4" y="259792"/>
            <a:ext cx="11005512" cy="1075884"/>
          </a:xfrm>
        </p:spPr>
        <p:txBody>
          <a:bodyPr lIns="0" tIns="91388" rIns="146220" bIns="91388"/>
          <a:lstStyle>
            <a:lvl1pPr>
              <a:lnSpc>
                <a:spcPts val="4802"/>
              </a:lnSpc>
              <a:defRPr sz="3529" baseline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>
      <p:ext uri="{BB962C8B-B14F-4D97-AF65-F5344CB8AC3E}">
        <p14:creationId xmlns:p14="http://schemas.microsoft.com/office/powerpoint/2010/main" val="268255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5" y="0"/>
            <a:ext cx="9936755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1E4B563-7754-4B43-9A5F-3781B8DAA9D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874216"/>
            <a:ext cx="6687892" cy="554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353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586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slideLayout" Target="../slideLayouts/slideLayout185.xml"/><Relationship Id="rId18" Type="http://schemas.openxmlformats.org/officeDocument/2006/relationships/slideLayout" Target="../slideLayouts/slideLayout190.xml"/><Relationship Id="rId26" Type="http://schemas.openxmlformats.org/officeDocument/2006/relationships/slideLayout" Target="../slideLayouts/slideLayout198.xml"/><Relationship Id="rId3" Type="http://schemas.openxmlformats.org/officeDocument/2006/relationships/slideLayout" Target="../slideLayouts/slideLayout175.xml"/><Relationship Id="rId21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17" Type="http://schemas.openxmlformats.org/officeDocument/2006/relationships/slideLayout" Target="../slideLayouts/slideLayout189.xml"/><Relationship Id="rId25" Type="http://schemas.openxmlformats.org/officeDocument/2006/relationships/slideLayout" Target="../slideLayouts/slideLayout197.xml"/><Relationship Id="rId33" Type="http://schemas.openxmlformats.org/officeDocument/2006/relationships/image" Target="../media/image8.emf"/><Relationship Id="rId2" Type="http://schemas.openxmlformats.org/officeDocument/2006/relationships/slideLayout" Target="../slideLayouts/slideLayout174.xml"/><Relationship Id="rId16" Type="http://schemas.openxmlformats.org/officeDocument/2006/relationships/slideLayout" Target="../slideLayouts/slideLayout188.xml"/><Relationship Id="rId20" Type="http://schemas.openxmlformats.org/officeDocument/2006/relationships/slideLayout" Target="../slideLayouts/slideLayout192.xml"/><Relationship Id="rId29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196.xml"/><Relationship Id="rId32" Type="http://schemas.openxmlformats.org/officeDocument/2006/relationships/theme" Target="../theme/theme10.xml"/><Relationship Id="rId5" Type="http://schemas.openxmlformats.org/officeDocument/2006/relationships/slideLayout" Target="../slideLayouts/slideLayout177.xml"/><Relationship Id="rId15" Type="http://schemas.openxmlformats.org/officeDocument/2006/relationships/slideLayout" Target="../slideLayouts/slideLayout187.xml"/><Relationship Id="rId23" Type="http://schemas.openxmlformats.org/officeDocument/2006/relationships/slideLayout" Target="../slideLayouts/slideLayout195.xml"/><Relationship Id="rId28" Type="http://schemas.openxmlformats.org/officeDocument/2006/relationships/slideLayout" Target="../slideLayouts/slideLayout200.xml"/><Relationship Id="rId10" Type="http://schemas.openxmlformats.org/officeDocument/2006/relationships/slideLayout" Target="../slideLayouts/slideLayout182.xml"/><Relationship Id="rId19" Type="http://schemas.openxmlformats.org/officeDocument/2006/relationships/slideLayout" Target="../slideLayouts/slideLayout191.xml"/><Relationship Id="rId31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slideLayout" Target="../slideLayouts/slideLayout186.xml"/><Relationship Id="rId22" Type="http://schemas.openxmlformats.org/officeDocument/2006/relationships/slideLayout" Target="../slideLayouts/slideLayout194.xml"/><Relationship Id="rId27" Type="http://schemas.openxmlformats.org/officeDocument/2006/relationships/slideLayout" Target="../slideLayouts/slideLayout199.xml"/><Relationship Id="rId30" Type="http://schemas.openxmlformats.org/officeDocument/2006/relationships/slideLayout" Target="../slideLayouts/slideLayout20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slideLayout" Target="../slideLayouts/slideLayout216.xml"/><Relationship Id="rId1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17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205.xml"/><Relationship Id="rId16" Type="http://schemas.openxmlformats.org/officeDocument/2006/relationships/slideLayout" Target="../slideLayouts/slideLayout219.xml"/><Relationship Id="rId20" Type="http://schemas.openxmlformats.org/officeDocument/2006/relationships/image" Target="../media/image8.emf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08.xml"/><Relationship Id="rId1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13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slideLayout" Target="../slideLayouts/slideLayout234.xml"/><Relationship Id="rId18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24.xml"/><Relationship Id="rId21" Type="http://schemas.openxmlformats.org/officeDocument/2006/relationships/theme" Target="../theme/theme12.xml"/><Relationship Id="rId7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3.xml"/><Relationship Id="rId17" Type="http://schemas.openxmlformats.org/officeDocument/2006/relationships/slideLayout" Target="../slideLayouts/slideLayout238.xml"/><Relationship Id="rId2" Type="http://schemas.openxmlformats.org/officeDocument/2006/relationships/slideLayout" Target="../slideLayouts/slideLayout223.xml"/><Relationship Id="rId16" Type="http://schemas.openxmlformats.org/officeDocument/2006/relationships/slideLayout" Target="../slideLayouts/slideLayout237.xml"/><Relationship Id="rId20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36.xml"/><Relationship Id="rId10" Type="http://schemas.openxmlformats.org/officeDocument/2006/relationships/slideLayout" Target="../slideLayouts/slideLayout231.xml"/><Relationship Id="rId19" Type="http://schemas.openxmlformats.org/officeDocument/2006/relationships/slideLayout" Target="../slideLayouts/slideLayout240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slideLayout" Target="../slideLayouts/slideLayout235.xml"/><Relationship Id="rId22" Type="http://schemas.openxmlformats.org/officeDocument/2006/relationships/image" Target="../media/image8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3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51.xml"/><Relationship Id="rId19" Type="http://schemas.openxmlformats.org/officeDocument/2006/relationships/theme" Target="../theme/theme13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7.xml"/><Relationship Id="rId13" Type="http://schemas.openxmlformats.org/officeDocument/2006/relationships/slideLayout" Target="../slideLayouts/slideLayout272.xml"/><Relationship Id="rId3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66.xml"/><Relationship Id="rId12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61.xml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260.xml"/><Relationship Id="rId6" Type="http://schemas.openxmlformats.org/officeDocument/2006/relationships/slideLayout" Target="../slideLayouts/slideLayout265.xml"/><Relationship Id="rId11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64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63.xml"/><Relationship Id="rId9" Type="http://schemas.openxmlformats.org/officeDocument/2006/relationships/slideLayout" Target="../slideLayouts/slideLayout268.xml"/><Relationship Id="rId14" Type="http://schemas.openxmlformats.org/officeDocument/2006/relationships/slideLayout" Target="../slideLayouts/slideLayout27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3" Type="http://schemas.openxmlformats.org/officeDocument/2006/relationships/slideLayout" Target="../slideLayouts/slideLayout276.xml"/><Relationship Id="rId7" Type="http://schemas.openxmlformats.org/officeDocument/2006/relationships/slideLayout" Target="../slideLayouts/slideLayout280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275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84.xml"/><Relationship Id="rId5" Type="http://schemas.openxmlformats.org/officeDocument/2006/relationships/slideLayout" Target="../slideLayouts/slideLayout278.xml"/><Relationship Id="rId10" Type="http://schemas.openxmlformats.org/officeDocument/2006/relationships/slideLayout" Target="../slideLayouts/slideLayout283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87.xml"/><Relationship Id="rId7" Type="http://schemas.openxmlformats.org/officeDocument/2006/relationships/slideLayout" Target="../slideLayouts/slideLayout291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85.xml"/><Relationship Id="rId6" Type="http://schemas.openxmlformats.org/officeDocument/2006/relationships/slideLayout" Target="../slideLayouts/slideLayout290.xml"/><Relationship Id="rId11" Type="http://schemas.openxmlformats.org/officeDocument/2006/relationships/slideLayout" Target="../slideLayouts/slideLayout295.xml"/><Relationship Id="rId5" Type="http://schemas.openxmlformats.org/officeDocument/2006/relationships/slideLayout" Target="../slideLayouts/slideLayout289.xml"/><Relationship Id="rId10" Type="http://schemas.openxmlformats.org/officeDocument/2006/relationships/slideLayout" Target="../slideLayouts/slideLayout294.xml"/><Relationship Id="rId4" Type="http://schemas.openxmlformats.org/officeDocument/2006/relationships/slideLayout" Target="../slideLayouts/slideLayout288.xml"/><Relationship Id="rId9" Type="http://schemas.openxmlformats.org/officeDocument/2006/relationships/slideLayout" Target="../slideLayouts/slideLayout29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image" Target="../media/image8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image" Target="../media/image8.emf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61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image" Target="../media/image8.emf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18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26.xml"/><Relationship Id="rId21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5" Type="http://schemas.openxmlformats.org/officeDocument/2006/relationships/image" Target="../media/image8.emf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20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23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33.xml"/><Relationship Id="rId19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Relationship Id="rId22" Type="http://schemas.openxmlformats.org/officeDocument/2006/relationships/slideLayout" Target="../slideLayouts/slideLayout14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5" Type="http://schemas.openxmlformats.org/officeDocument/2006/relationships/image" Target="../media/image1.emf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0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24" Type="http://schemas.openxmlformats.org/officeDocument/2006/relationships/theme" Target="../theme/theme9.xml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23" Type="http://schemas.openxmlformats.org/officeDocument/2006/relationships/slideLayout" Target="../slideLayouts/slideLayout172.xml"/><Relationship Id="rId10" Type="http://schemas.openxmlformats.org/officeDocument/2006/relationships/slideLayout" Target="../slideLayouts/slideLayout159.xml"/><Relationship Id="rId19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Relationship Id="rId22" Type="http://schemas.openxmlformats.org/officeDocument/2006/relationships/slideLayout" Target="../slideLayouts/slideLayout1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187080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703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5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0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16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21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268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8660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  <p:sldLayoutId id="2147483883" r:id="rId20"/>
    <p:sldLayoutId id="2147483884" r:id="rId21"/>
    <p:sldLayoutId id="2147483885" r:id="rId22"/>
    <p:sldLayoutId id="2147483886" r:id="rId23"/>
    <p:sldLayoutId id="2147483887" r:id="rId24"/>
    <p:sldLayoutId id="2147483888" r:id="rId25"/>
    <p:sldLayoutId id="2147483889" r:id="rId26"/>
    <p:sldLayoutId id="2147483890" r:id="rId27"/>
    <p:sldLayoutId id="2147483891" r:id="rId28"/>
    <p:sldLayoutId id="2147483892" r:id="rId29"/>
    <p:sldLayoutId id="2147483893" r:id="rId30"/>
    <p:sldLayoutId id="2147483894" r:id="rId3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444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  <p:sldLayoutId id="2147483908" r:id="rId13"/>
    <p:sldLayoutId id="2147483909" r:id="rId14"/>
    <p:sldLayoutId id="2147483910" r:id="rId15"/>
    <p:sldLayoutId id="2147483911" r:id="rId16"/>
    <p:sldLayoutId id="2147483912" r:id="rId17"/>
    <p:sldLayoutId id="2147483913" r:id="rId1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23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  <p:sldLayoutId id="2147483952" r:id="rId18"/>
    <p:sldLayoutId id="2147483953" r:id="rId19"/>
    <p:sldLayoutId id="2147483954" r:id="rId20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5189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  <p:sldLayoutId id="2147483971" r:id="rId14"/>
    <p:sldLayoutId id="2147483972" r:id="rId15"/>
    <p:sldLayoutId id="2147483973" r:id="rId16"/>
    <p:sldLayoutId id="2147483974" r:id="rId17"/>
    <p:sldLayoutId id="2147483975" r:id="rId18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14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63EA4B2-0D27-4060-8E83-C96E7E961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79411D-69D3-43FF-A015-9E6A732FDF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C7240-CCEE-4A27-AC45-874E58EBB3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139263-F2D3-4D44-A665-FAC7DD3F8A35}" type="datetime1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4BAFEA-9B96-4A0A-AEF3-C8C6947CDD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3E6A-35F3-419C-9FC5-8274F39117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F1B289-E05A-41E1-8719-4CEA015183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231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DE2EEC1-03AF-4897-9265-C715EFEB2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C5A9C0-BB09-4904-AC3A-1FF89BF2FF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B16BE8-616E-419E-9C0F-9C06596334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786644-D15B-4EEF-B58A-B7C450FA6B98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9B9B5F-62D5-40C3-8AD2-88B78FC57A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4DC96-8947-4CBC-B132-10F648519D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B5973C-EA3F-451F-A446-BC2C8F002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344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1" r:id="rId7"/>
    <p:sldLayoutId id="2147484012" r:id="rId8"/>
    <p:sldLayoutId id="2147484013" r:id="rId9"/>
    <p:sldLayoutId id="2147484014" r:id="rId10"/>
    <p:sldLayoutId id="214748401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368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</p:sldLayoutIdLst>
  <p:transition advTm="5000"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097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400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6531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  <p:sldLayoutId id="2147483776" r:id="rId22"/>
    <p:sldLayoutId id="2147483777" r:id="rId23"/>
    <p:sldLayoutId id="2147483778" r:id="rId24"/>
    <p:sldLayoutId id="2147483779" r:id="rId25"/>
    <p:sldLayoutId id="2147483780" r:id="rId26"/>
    <p:sldLayoutId id="2147483781" r:id="rId27"/>
    <p:sldLayoutId id="2147483782" r:id="rId2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353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  <p:sldLayoutId id="2147483798" r:id="rId15"/>
    <p:sldLayoutId id="2147483799" r:id="rId16"/>
    <p:sldLayoutId id="2147483800" r:id="rId17"/>
    <p:sldLayoutId id="2147483801" r:id="rId18"/>
    <p:sldLayoutId id="2147483802" r:id="rId19"/>
    <p:sldLayoutId id="2147483803" r:id="rId20"/>
    <p:sldLayoutId id="2147483804" r:id="rId21"/>
    <p:sldLayoutId id="2147483805" r:id="rId22"/>
    <p:sldLayoutId id="2147483806" r:id="rId23"/>
    <p:sldLayoutId id="2147483807" r:id="rId24"/>
    <p:sldLayoutId id="2147483808" r:id="rId25"/>
    <p:sldLayoutId id="2147483809" r:id="rId26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4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9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1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A7E9D01-1635-4C50-85F0-3C3C30D7010C}"/>
              </a:ext>
            </a:extLst>
          </p:cNvPr>
          <p:cNvGrpSpPr/>
          <p:nvPr userDrawn="1"/>
        </p:nvGrpSpPr>
        <p:grpSpPr>
          <a:xfrm>
            <a:off x="13249445" y="0"/>
            <a:ext cx="1911096" cy="2670048"/>
            <a:chOff x="6781665" y="2109787"/>
            <a:chExt cx="1618488" cy="2670048"/>
          </a:xfrm>
        </p:grpSpPr>
        <p:sp>
          <p:nvSpPr>
            <p:cNvPr id="50" name="object 78">
              <a:extLst>
                <a:ext uri="{FF2B5EF4-FFF2-40B4-BE49-F238E27FC236}">
                  <a16:creationId xmlns:a16="http://schemas.microsoft.com/office/drawing/2014/main" id="{14760DAC-538D-42EB-9063-51377E67B96D}"/>
                </a:ext>
              </a:extLst>
            </p:cNvPr>
            <p:cNvSpPr/>
            <p:nvPr/>
          </p:nvSpPr>
          <p:spPr>
            <a:xfrm>
              <a:off x="6781665" y="2109787"/>
              <a:ext cx="1161288" cy="667512"/>
            </a:xfrm>
            <a:custGeom>
              <a:avLst/>
              <a:gdLst/>
              <a:ahLst/>
              <a:cxnLst/>
              <a:rect l="l" t="t" r="r" b="b"/>
              <a:pathLst>
                <a:path w="1048385" h="704850">
                  <a:moveTo>
                    <a:pt x="0" y="704697"/>
                  </a:moveTo>
                  <a:lnTo>
                    <a:pt x="1048016" y="704697"/>
                  </a:lnTo>
                  <a:lnTo>
                    <a:pt x="1048016" y="0"/>
                  </a:lnTo>
                  <a:lnTo>
                    <a:pt x="0" y="0"/>
                  </a:lnTo>
                  <a:lnTo>
                    <a:pt x="0" y="704697"/>
                  </a:lnTo>
                  <a:close/>
                </a:path>
              </a:pathLst>
            </a:custGeom>
            <a:solidFill>
              <a:srgbClr val="00BCF2"/>
            </a:solidFill>
          </p:spPr>
          <p:txBody>
            <a:bodyPr wrap="square" lIns="91440" tIns="91440" rIns="0" bIns="0" rtlCol="0">
              <a:noAutofit/>
            </a:bodyPr>
            <a:lstStyle/>
            <a:p>
              <a:pPr marL="10581">
                <a:spcBef>
                  <a:spcPts val="83"/>
                </a:spcBef>
              </a:pPr>
              <a:r>
                <a:rPr lang="en-US" sz="800" dirty="0">
                  <a:gradFill>
                    <a:gsLst>
                      <a:gs pos="27434">
                        <a:schemeClr val="tx1"/>
                      </a:gs>
                      <a:gs pos="53000">
                        <a:schemeClr val="tx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ight blue</a:t>
              </a: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4F475811-E8ED-455B-8F3A-E9B73433638E}"/>
                </a:ext>
              </a:extLst>
            </p:cNvPr>
            <p:cNvGrpSpPr/>
            <p:nvPr/>
          </p:nvGrpSpPr>
          <p:grpSpPr>
            <a:xfrm>
              <a:off x="7942953" y="2109787"/>
              <a:ext cx="457200" cy="667512"/>
              <a:chOff x="8963501" y="2012135"/>
              <a:chExt cx="381000" cy="587290"/>
            </a:xfrm>
          </p:grpSpPr>
          <p:sp>
            <p:nvSpPr>
              <p:cNvPr id="67" name="object 79">
                <a:extLst>
                  <a:ext uri="{FF2B5EF4-FFF2-40B4-BE49-F238E27FC236}">
                    <a16:creationId xmlns:a16="http://schemas.microsoft.com/office/drawing/2014/main" id="{A3A830F3-B642-48E4-A8F9-69D5DF94929E}"/>
                  </a:ext>
                </a:extLst>
              </p:cNvPr>
              <p:cNvSpPr/>
              <p:nvPr/>
            </p:nvSpPr>
            <p:spPr>
              <a:xfrm>
                <a:off x="8963501" y="2012135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49CDF3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8" name="object 80">
                <a:extLst>
                  <a:ext uri="{FF2B5EF4-FFF2-40B4-BE49-F238E27FC236}">
                    <a16:creationId xmlns:a16="http://schemas.microsoft.com/office/drawing/2014/main" id="{123FF991-B79E-4068-9A67-67462B59ABC7}"/>
                  </a:ext>
                </a:extLst>
              </p:cNvPr>
              <p:cNvSpPr/>
              <p:nvPr/>
            </p:nvSpPr>
            <p:spPr>
              <a:xfrm>
                <a:off x="8963501" y="2403633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1386AA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9" name="object 81">
                <a:extLst>
                  <a:ext uri="{FF2B5EF4-FFF2-40B4-BE49-F238E27FC236}">
                    <a16:creationId xmlns:a16="http://schemas.microsoft.com/office/drawing/2014/main" id="{8D6D2241-1ABB-4C3F-B415-AA6821891AB0}"/>
                  </a:ext>
                </a:extLst>
              </p:cNvPr>
              <p:cNvSpPr/>
              <p:nvPr/>
            </p:nvSpPr>
            <p:spPr>
              <a:xfrm>
                <a:off x="8963501" y="2207884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1DB0E0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</p:grpSp>
        <p:sp>
          <p:nvSpPr>
            <p:cNvPr id="52" name="object 83">
              <a:extLst>
                <a:ext uri="{FF2B5EF4-FFF2-40B4-BE49-F238E27FC236}">
                  <a16:creationId xmlns:a16="http://schemas.microsoft.com/office/drawing/2014/main" id="{B27D8EED-A500-45AA-BB7E-21FE768D9520}"/>
                </a:ext>
              </a:extLst>
            </p:cNvPr>
            <p:cNvSpPr/>
            <p:nvPr/>
          </p:nvSpPr>
          <p:spPr>
            <a:xfrm>
              <a:off x="6781665" y="2777299"/>
              <a:ext cx="1161288" cy="667512"/>
            </a:xfrm>
            <a:custGeom>
              <a:avLst/>
              <a:gdLst/>
              <a:ahLst/>
              <a:cxnLst/>
              <a:rect l="l" t="t" r="r" b="b"/>
              <a:pathLst>
                <a:path w="1048385" h="704850">
                  <a:moveTo>
                    <a:pt x="0" y="704697"/>
                  </a:moveTo>
                  <a:lnTo>
                    <a:pt x="1048016" y="704697"/>
                  </a:lnTo>
                  <a:lnTo>
                    <a:pt x="1048016" y="0"/>
                  </a:lnTo>
                  <a:lnTo>
                    <a:pt x="0" y="0"/>
                  </a:lnTo>
                  <a:lnTo>
                    <a:pt x="0" y="704697"/>
                  </a:lnTo>
                  <a:close/>
                </a:path>
              </a:pathLst>
            </a:custGeom>
            <a:solidFill>
              <a:srgbClr val="0078D4"/>
            </a:solidFill>
          </p:spPr>
          <p:txBody>
            <a:bodyPr wrap="square" lIns="91440" tIns="91440" rIns="0" bIns="0" rtlCol="0">
              <a:noAutofit/>
            </a:bodyPr>
            <a:lstStyle/>
            <a:p>
              <a:pPr marL="10581">
                <a:spcBef>
                  <a:spcPts val="83"/>
                </a:spcBef>
              </a:pPr>
              <a:r>
                <a:rPr lang="en-US" sz="800" dirty="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lue</a:t>
              </a:r>
              <a:br>
                <a:rPr lang="en-US" sz="800" dirty="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800" dirty="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Primary brand color)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4C8C1856-CF94-4036-B421-D0DEC7256374}"/>
                </a:ext>
              </a:extLst>
            </p:cNvPr>
            <p:cNvGrpSpPr/>
            <p:nvPr/>
          </p:nvGrpSpPr>
          <p:grpSpPr>
            <a:xfrm>
              <a:off x="7942953" y="2777299"/>
              <a:ext cx="457200" cy="667512"/>
              <a:chOff x="8963501" y="2599383"/>
              <a:chExt cx="381000" cy="587291"/>
            </a:xfrm>
          </p:grpSpPr>
          <p:sp>
            <p:nvSpPr>
              <p:cNvPr id="64" name="object 84">
                <a:extLst>
                  <a:ext uri="{FF2B5EF4-FFF2-40B4-BE49-F238E27FC236}">
                    <a16:creationId xmlns:a16="http://schemas.microsoft.com/office/drawing/2014/main" id="{B83153A0-FF00-4D35-93B6-61A4CCCE701E}"/>
                  </a:ext>
                </a:extLst>
              </p:cNvPr>
              <p:cNvSpPr/>
              <p:nvPr/>
            </p:nvSpPr>
            <p:spPr>
              <a:xfrm>
                <a:off x="8963501" y="2599383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459BDD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5" name="object 85">
                <a:extLst>
                  <a:ext uri="{FF2B5EF4-FFF2-40B4-BE49-F238E27FC236}">
                    <a16:creationId xmlns:a16="http://schemas.microsoft.com/office/drawing/2014/main" id="{486B6153-EDB3-489F-B799-E65B3145EAF2}"/>
                  </a:ext>
                </a:extLst>
              </p:cNvPr>
              <p:cNvSpPr/>
              <p:nvPr/>
            </p:nvSpPr>
            <p:spPr>
              <a:xfrm>
                <a:off x="8963501" y="2990882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09538F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6" name="object 86">
                <a:extLst>
                  <a:ext uri="{FF2B5EF4-FFF2-40B4-BE49-F238E27FC236}">
                    <a16:creationId xmlns:a16="http://schemas.microsoft.com/office/drawing/2014/main" id="{6AB90005-B5C8-48A0-A9AA-B45C0C1B1B38}"/>
                  </a:ext>
                </a:extLst>
              </p:cNvPr>
              <p:cNvSpPr/>
              <p:nvPr/>
            </p:nvSpPr>
            <p:spPr>
              <a:xfrm>
                <a:off x="8963501" y="2795133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1070C4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</p:grpSp>
        <p:sp>
          <p:nvSpPr>
            <p:cNvPr id="54" name="object 88">
              <a:extLst>
                <a:ext uri="{FF2B5EF4-FFF2-40B4-BE49-F238E27FC236}">
                  <a16:creationId xmlns:a16="http://schemas.microsoft.com/office/drawing/2014/main" id="{0B34865F-CA04-4DDC-B6DD-61777B1A06B6}"/>
                </a:ext>
              </a:extLst>
            </p:cNvPr>
            <p:cNvSpPr/>
            <p:nvPr/>
          </p:nvSpPr>
          <p:spPr>
            <a:xfrm>
              <a:off x="6781665" y="3444811"/>
              <a:ext cx="1161288" cy="667512"/>
            </a:xfrm>
            <a:custGeom>
              <a:avLst/>
              <a:gdLst/>
              <a:ahLst/>
              <a:cxnLst/>
              <a:rect l="l" t="t" r="r" b="b"/>
              <a:pathLst>
                <a:path w="1048385" h="704850">
                  <a:moveTo>
                    <a:pt x="0" y="704697"/>
                  </a:moveTo>
                  <a:lnTo>
                    <a:pt x="1048016" y="704697"/>
                  </a:lnTo>
                  <a:lnTo>
                    <a:pt x="1048016" y="0"/>
                  </a:lnTo>
                  <a:lnTo>
                    <a:pt x="0" y="0"/>
                  </a:lnTo>
                  <a:lnTo>
                    <a:pt x="0" y="704697"/>
                  </a:lnTo>
                  <a:close/>
                </a:path>
              </a:pathLst>
            </a:custGeom>
            <a:solidFill>
              <a:srgbClr val="00188F"/>
            </a:solidFill>
          </p:spPr>
          <p:txBody>
            <a:bodyPr wrap="square" lIns="91440" tIns="91440" rIns="0" bIns="0" rtlCol="0">
              <a:noAutofit/>
            </a:bodyPr>
            <a:lstStyle/>
            <a:p>
              <a:pPr marL="10581">
                <a:spcBef>
                  <a:spcPts val="83"/>
                </a:spcBef>
              </a:pPr>
              <a:r>
                <a:rPr lang="en-US"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id blue</a:t>
              </a:r>
              <a:endParaRPr lang="en-US" sz="800" dirty="0">
                <a:gradFill>
                  <a:gsLst>
                    <a:gs pos="5310">
                      <a:schemeClr val="bg1"/>
                    </a:gs>
                    <a:gs pos="87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5E661297-1F57-455D-8F0F-CBFCF3D3F002}"/>
                </a:ext>
              </a:extLst>
            </p:cNvPr>
            <p:cNvGrpSpPr/>
            <p:nvPr/>
          </p:nvGrpSpPr>
          <p:grpSpPr>
            <a:xfrm>
              <a:off x="7942953" y="3444811"/>
              <a:ext cx="457200" cy="667512"/>
              <a:chOff x="8963501" y="3186631"/>
              <a:chExt cx="381000" cy="587291"/>
            </a:xfrm>
          </p:grpSpPr>
          <p:sp>
            <p:nvSpPr>
              <p:cNvPr id="61" name="object 89">
                <a:extLst>
                  <a:ext uri="{FF2B5EF4-FFF2-40B4-BE49-F238E27FC236}">
                    <a16:creationId xmlns:a16="http://schemas.microsoft.com/office/drawing/2014/main" id="{D629A9AF-1236-4B34-ABC9-062E2932AECD}"/>
                  </a:ext>
                </a:extLst>
              </p:cNvPr>
              <p:cNvSpPr/>
              <p:nvPr/>
            </p:nvSpPr>
            <p:spPr>
              <a:xfrm>
                <a:off x="8963501" y="3186631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4155A9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2" name="object 90">
                <a:extLst>
                  <a:ext uri="{FF2B5EF4-FFF2-40B4-BE49-F238E27FC236}">
                    <a16:creationId xmlns:a16="http://schemas.microsoft.com/office/drawing/2014/main" id="{0E84B656-F190-49A0-933E-7B84A836901B}"/>
                  </a:ext>
                </a:extLst>
              </p:cNvPr>
              <p:cNvSpPr/>
              <p:nvPr/>
            </p:nvSpPr>
            <p:spPr>
              <a:xfrm>
                <a:off x="8963501" y="3578130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021760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3" name="object 91">
                <a:extLst>
                  <a:ext uri="{FF2B5EF4-FFF2-40B4-BE49-F238E27FC236}">
                    <a16:creationId xmlns:a16="http://schemas.microsoft.com/office/drawing/2014/main" id="{E3F34523-7231-4D78-B132-C09533516263}"/>
                  </a:ext>
                </a:extLst>
              </p:cNvPr>
              <p:cNvSpPr/>
              <p:nvPr/>
            </p:nvSpPr>
            <p:spPr>
              <a:xfrm>
                <a:off x="8963501" y="3382380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031A7E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</p:grpSp>
        <p:sp>
          <p:nvSpPr>
            <p:cNvPr id="56" name="object 93">
              <a:extLst>
                <a:ext uri="{FF2B5EF4-FFF2-40B4-BE49-F238E27FC236}">
                  <a16:creationId xmlns:a16="http://schemas.microsoft.com/office/drawing/2014/main" id="{572147CB-CF97-4C4B-A1D3-FF02818DD87D}"/>
                </a:ext>
              </a:extLst>
            </p:cNvPr>
            <p:cNvSpPr/>
            <p:nvPr/>
          </p:nvSpPr>
          <p:spPr>
            <a:xfrm>
              <a:off x="6781665" y="4112323"/>
              <a:ext cx="1161288" cy="667512"/>
            </a:xfrm>
            <a:custGeom>
              <a:avLst/>
              <a:gdLst/>
              <a:ahLst/>
              <a:cxnLst/>
              <a:rect l="l" t="t" r="r" b="b"/>
              <a:pathLst>
                <a:path w="1048385" h="704850">
                  <a:moveTo>
                    <a:pt x="0" y="704697"/>
                  </a:moveTo>
                  <a:lnTo>
                    <a:pt x="1048016" y="704697"/>
                  </a:lnTo>
                  <a:lnTo>
                    <a:pt x="1048016" y="0"/>
                  </a:lnTo>
                  <a:lnTo>
                    <a:pt x="0" y="0"/>
                  </a:lnTo>
                  <a:lnTo>
                    <a:pt x="0" y="704697"/>
                  </a:lnTo>
                  <a:close/>
                </a:path>
              </a:pathLst>
            </a:custGeom>
            <a:solidFill>
              <a:srgbClr val="002050"/>
            </a:solidFill>
          </p:spPr>
          <p:txBody>
            <a:bodyPr wrap="square" lIns="91440" tIns="91440" rIns="0" bIns="0" rtlCol="0">
              <a:noAutofit/>
            </a:bodyPr>
            <a:lstStyle/>
            <a:p>
              <a:pPr marL="10581">
                <a:spcBef>
                  <a:spcPts val="83"/>
                </a:spcBef>
              </a:pPr>
              <a:r>
                <a:rPr lang="en-US"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ark blue</a:t>
              </a:r>
              <a:endParaRPr lang="en-US" sz="800" dirty="0">
                <a:gradFill>
                  <a:gsLst>
                    <a:gs pos="5310">
                      <a:schemeClr val="bg1"/>
                    </a:gs>
                    <a:gs pos="87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6E940942-96D1-478A-8E93-386C5A5B8F9F}"/>
                </a:ext>
              </a:extLst>
            </p:cNvPr>
            <p:cNvGrpSpPr/>
            <p:nvPr/>
          </p:nvGrpSpPr>
          <p:grpSpPr>
            <a:xfrm>
              <a:off x="7942953" y="4112323"/>
              <a:ext cx="457200" cy="667512"/>
              <a:chOff x="8963501" y="3773879"/>
              <a:chExt cx="381000" cy="587291"/>
            </a:xfrm>
          </p:grpSpPr>
          <p:sp>
            <p:nvSpPr>
              <p:cNvPr id="58" name="object 94">
                <a:extLst>
                  <a:ext uri="{FF2B5EF4-FFF2-40B4-BE49-F238E27FC236}">
                    <a16:creationId xmlns:a16="http://schemas.microsoft.com/office/drawing/2014/main" id="{4543799D-8A86-4A68-A374-BB1D1BA3306C}"/>
                  </a:ext>
                </a:extLst>
              </p:cNvPr>
              <p:cNvSpPr/>
              <p:nvPr/>
            </p:nvSpPr>
            <p:spPr>
              <a:xfrm>
                <a:off x="8963501" y="3773879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41587A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59" name="object 95">
                <a:extLst>
                  <a:ext uri="{FF2B5EF4-FFF2-40B4-BE49-F238E27FC236}">
                    <a16:creationId xmlns:a16="http://schemas.microsoft.com/office/drawing/2014/main" id="{AB23CE6F-B368-43D1-8D38-585BCB30319B}"/>
                  </a:ext>
                </a:extLst>
              </p:cNvPr>
              <p:cNvSpPr/>
              <p:nvPr/>
            </p:nvSpPr>
            <p:spPr>
              <a:xfrm>
                <a:off x="8963501" y="4165378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011228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0" name="object 96">
                <a:extLst>
                  <a:ext uri="{FF2B5EF4-FFF2-40B4-BE49-F238E27FC236}">
                    <a16:creationId xmlns:a16="http://schemas.microsoft.com/office/drawing/2014/main" id="{62977B5E-A2DA-480D-97A4-8FFAA71A53BD}"/>
                  </a:ext>
                </a:extLst>
              </p:cNvPr>
              <p:cNvSpPr/>
              <p:nvPr/>
            </p:nvSpPr>
            <p:spPr>
              <a:xfrm>
                <a:off x="8963501" y="3969628"/>
                <a:ext cx="381000" cy="195792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234950">
                    <a:moveTo>
                      <a:pt x="0" y="234899"/>
                    </a:moveTo>
                    <a:lnTo>
                      <a:pt x="456907" y="234899"/>
                    </a:lnTo>
                    <a:lnTo>
                      <a:pt x="456907" y="0"/>
                    </a:lnTo>
                    <a:lnTo>
                      <a:pt x="0" y="0"/>
                    </a:lnTo>
                    <a:lnTo>
                      <a:pt x="0" y="234899"/>
                    </a:lnTo>
                    <a:close/>
                  </a:path>
                </a:pathLst>
              </a:custGeom>
              <a:solidFill>
                <a:srgbClr val="021B40"/>
              </a:solidFill>
            </p:spPr>
            <p:txBody>
              <a:bodyPr wrap="square" lIns="91440" tIns="91440" rIns="0" bIns="0" rtlCol="0">
                <a:noAutofit/>
              </a:bodyPr>
              <a:lstStyle/>
              <a:p>
                <a:endParaRPr sz="800">
                  <a:gradFill>
                    <a:gsLst>
                      <a:gs pos="5310">
                        <a:schemeClr val="bg1"/>
                      </a:gs>
                      <a:gs pos="87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2596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0" r:id="rId20"/>
    <p:sldLayoutId id="2147483831" r:id="rId21"/>
    <p:sldLayoutId id="2147483832" r:id="rId22"/>
    <p:sldLayoutId id="2147483833" r:id="rId23"/>
  </p:sldLayoutIdLst>
  <p:transition>
    <p:fade/>
  </p:transition>
  <p:hf sldNum="0" hdr="0" ftr="0" dt="0"/>
  <p:txStyles>
    <p:titleStyle>
      <a:lvl1pPr algn="l" defTabSz="932563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56" marR="0" indent="-22855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112" marR="0" indent="-22855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099" marR="0" indent="-19998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801" marR="0" indent="-180940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741" marR="0" indent="-168243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7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1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2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2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352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8" r:id="rId3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sumer and Device Sa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EE09E-D5B7-40B0-9125-FC5EF6416E1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134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1" r:id="rId21"/>
    <p:sldLayoutId id="2147483862" r:id="rId22"/>
    <p:sldLayoutId id="2147484016" r:id="rId23"/>
  </p:sldLayoutIdLst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5.xml"/><Relationship Id="rId5" Type="http://schemas.openxmlformats.org/officeDocument/2006/relationships/image" Target="../media/image46.pn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mslearnevent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2.xml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mslearnevent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6.xml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8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5.xml"/><Relationship Id="rId4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40.png"/><Relationship Id="rId7" Type="http://schemas.openxmlformats.org/officeDocument/2006/relationships/image" Target="../media/image9.png"/><Relationship Id="rId12" Type="http://schemas.openxmlformats.org/officeDocument/2006/relationships/image" Target="../media/image1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5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9" Type="http://schemas.openxmlformats.org/officeDocument/2006/relationships/image" Target="../media/image11.png"/><Relationship Id="rId1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273050" y="2532575"/>
            <a:ext cx="6274911" cy="1792850"/>
          </a:xfrm>
          <a:prstGeom prst="rect">
            <a:avLst/>
          </a:prstGeom>
          <a:noFill/>
        </p:spPr>
        <p:txBody>
          <a:bodyPr vert="horz" wrap="square" lIns="143428" tIns="89642" rIns="143428" bIns="89642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defRPr/>
            </a:pPr>
            <a:r>
              <a:rPr lang="en-US" altLang="zh-CN" sz="3600" b="1" dirty="0">
                <a:solidFill>
                  <a:schemeClr val="tx1"/>
                </a:solidFill>
              </a:rPr>
              <a:t>Train and </a:t>
            </a:r>
            <a:r>
              <a:rPr lang="en-US" altLang="zh-CN" sz="3600" b="1" dirty="0" err="1">
                <a:solidFill>
                  <a:schemeClr val="tx1"/>
                </a:solidFill>
              </a:rPr>
              <a:t>optimise</a:t>
            </a:r>
            <a:r>
              <a:rPr lang="en-US" altLang="zh-CN" sz="3600" b="1" dirty="0">
                <a:solidFill>
                  <a:schemeClr val="tx1"/>
                </a:solidFill>
              </a:rPr>
              <a:t> your models with Automated ML 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046967E5-52D4-449F-94E7-817413A12549}"/>
              </a:ext>
            </a:extLst>
          </p:cNvPr>
          <p:cNvSpPr txBox="1">
            <a:spLocks/>
          </p:cNvSpPr>
          <p:nvPr/>
        </p:nvSpPr>
        <p:spPr>
          <a:xfrm>
            <a:off x="433322" y="4356716"/>
            <a:ext cx="3770313" cy="568325"/>
          </a:xfrm>
          <a:prstGeom prst="rect">
            <a:avLst/>
          </a:prstGeom>
        </p:spPr>
        <p:txBody>
          <a:bodyPr/>
          <a:lstStyle>
            <a:lvl1pPr marL="336080" marR="0" indent="-33608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724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000" dirty="0"/>
              <a:t>Delon Yau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BD666B-6996-46EC-B8FC-7C2BAEB5B69C}"/>
              </a:ext>
            </a:extLst>
          </p:cNvPr>
          <p:cNvSpPr txBox="1">
            <a:spLocks/>
          </p:cNvSpPr>
          <p:nvPr/>
        </p:nvSpPr>
        <p:spPr>
          <a:xfrm>
            <a:off x="441342" y="4777794"/>
            <a:ext cx="4253561" cy="568325"/>
          </a:xfrm>
          <a:prstGeom prst="rect">
            <a:avLst/>
          </a:prstGeom>
        </p:spPr>
        <p:txBody>
          <a:bodyPr>
            <a:noAutofit/>
          </a:bodyPr>
          <a:lstStyle>
            <a:lvl1pPr marL="336080" marR="0" indent="-33608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724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67">
              <a:buNone/>
            </a:pPr>
            <a:r>
              <a:rPr lang="en-US" altLang="zh-CN" sz="1400" b="1" dirty="0"/>
              <a:t>Software Engineer </a:t>
            </a:r>
            <a:endParaRPr lang="zh-CN" altLang="en-US" sz="1400" b="1" dirty="0"/>
          </a:p>
          <a:p>
            <a:pPr marL="0" indent="0" defTabSz="914367">
              <a:buNone/>
            </a:pPr>
            <a:r>
              <a:rPr lang="en-US" altLang="zh-CN" sz="1400" b="1" dirty="0"/>
              <a:t>Commercial Software Engineering</a:t>
            </a:r>
          </a:p>
          <a:p>
            <a:pPr marL="0" indent="0" defTabSz="914367">
              <a:buNone/>
            </a:pPr>
            <a:r>
              <a:rPr lang="en-US" altLang="zh-CN" sz="1400" b="1" dirty="0"/>
              <a:t>Microsoft Asia</a:t>
            </a:r>
          </a:p>
          <a:p>
            <a:endParaRPr lang="en-US" sz="700" b="1" dirty="0"/>
          </a:p>
        </p:txBody>
      </p:sp>
    </p:spTree>
    <p:extLst>
      <p:ext uri="{BB962C8B-B14F-4D97-AF65-F5344CB8AC3E}">
        <p14:creationId xmlns:p14="http://schemas.microsoft.com/office/powerpoint/2010/main" val="130803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7" name="Group 286"/>
          <p:cNvGrpSpPr/>
          <p:nvPr/>
        </p:nvGrpSpPr>
        <p:grpSpPr>
          <a:xfrm>
            <a:off x="6365877" y="3008610"/>
            <a:ext cx="2216393" cy="1803315"/>
            <a:chOff x="6478533" y="3068441"/>
            <a:chExt cx="2260836" cy="1839475"/>
          </a:xfrm>
        </p:grpSpPr>
        <p:sp>
          <p:nvSpPr>
            <p:cNvPr id="253" name="Rectangle 252"/>
            <p:cNvSpPr/>
            <p:nvPr/>
          </p:nvSpPr>
          <p:spPr bwMode="auto">
            <a:xfrm>
              <a:off x="6478533" y="3068441"/>
              <a:ext cx="2260836" cy="1839475"/>
            </a:xfrm>
            <a:prstGeom prst="rect">
              <a:avLst/>
            </a:prstGeom>
            <a:solidFill>
              <a:srgbClr val="355D7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grpSp>
          <p:nvGrpSpPr>
            <p:cNvPr id="216" name="Group 215"/>
            <p:cNvGrpSpPr/>
            <p:nvPr/>
          </p:nvGrpSpPr>
          <p:grpSpPr>
            <a:xfrm>
              <a:off x="6913534" y="3309199"/>
              <a:ext cx="1378670" cy="1365279"/>
              <a:chOff x="10157216" y="5167111"/>
              <a:chExt cx="784208" cy="776592"/>
            </a:xfrm>
            <a:solidFill>
              <a:schemeClr val="bg1"/>
            </a:solidFill>
          </p:grpSpPr>
          <p:grpSp>
            <p:nvGrpSpPr>
              <p:cNvPr id="218" name="Group 217"/>
              <p:cNvGrpSpPr/>
              <p:nvPr/>
            </p:nvGrpSpPr>
            <p:grpSpPr>
              <a:xfrm>
                <a:off x="10157216" y="5167111"/>
                <a:ext cx="784208" cy="776592"/>
                <a:chOff x="6061147" y="1903843"/>
                <a:chExt cx="1441783" cy="1427779"/>
              </a:xfrm>
              <a:grpFill/>
            </p:grpSpPr>
            <p:sp>
              <p:nvSpPr>
                <p:cNvPr id="220" name="Rectangle: Rounded Corners 219"/>
                <p:cNvSpPr/>
                <p:nvPr/>
              </p:nvSpPr>
              <p:spPr bwMode="auto">
                <a:xfrm>
                  <a:off x="6287602" y="2125662"/>
                  <a:ext cx="990600" cy="990600"/>
                </a:xfrm>
                <a:prstGeom prst="roundRect">
                  <a:avLst>
                    <a:gd name="adj" fmla="val 4268"/>
                  </a:avLst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221" name="Picture 198" descr="Azure automation.png"/>
                <p:cNvPicPr>
                  <a:picLocks noChangeAspect="1"/>
                </p:cNvPicPr>
                <p:nvPr/>
              </p:nvPicPr>
              <p:blipFill>
                <a:blip r:embed="rId3" cstate="screen">
                  <a:duotone>
                    <a:prstClr val="black"/>
                    <a:schemeClr val="accent1">
                      <a:tint val="45000"/>
                      <a:satMod val="400000"/>
                    </a:scheme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rightnessContrast brigh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497674" y="2198548"/>
                  <a:ext cx="545200" cy="54712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22" name="Rectangle 221"/>
                <p:cNvSpPr/>
                <p:nvPr/>
              </p:nvSpPr>
              <p:spPr bwMode="auto">
                <a:xfrm>
                  <a:off x="6592402" y="1903843"/>
                  <a:ext cx="159235" cy="159235"/>
                </a:xfrm>
                <a:prstGeom prst="rect">
                  <a:avLst/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23" name="Rectangle 222"/>
                <p:cNvSpPr/>
                <p:nvPr/>
              </p:nvSpPr>
              <p:spPr bwMode="auto">
                <a:xfrm>
                  <a:off x="6827837" y="1903843"/>
                  <a:ext cx="159235" cy="159235"/>
                </a:xfrm>
                <a:prstGeom prst="rect">
                  <a:avLst/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26" name="Rectangle 225"/>
                <p:cNvSpPr/>
                <p:nvPr/>
              </p:nvSpPr>
              <p:spPr bwMode="auto">
                <a:xfrm>
                  <a:off x="7014340" y="1903843"/>
                  <a:ext cx="159235" cy="159235"/>
                </a:xfrm>
                <a:prstGeom prst="rect">
                  <a:avLst/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27" name="Rectangle 226"/>
                <p:cNvSpPr/>
                <p:nvPr/>
              </p:nvSpPr>
              <p:spPr bwMode="auto">
                <a:xfrm>
                  <a:off x="6405900" y="1903843"/>
                  <a:ext cx="159235" cy="159235"/>
                </a:xfrm>
                <a:prstGeom prst="rect">
                  <a:avLst/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228" name="Group 227"/>
                <p:cNvGrpSpPr/>
                <p:nvPr/>
              </p:nvGrpSpPr>
              <p:grpSpPr>
                <a:xfrm>
                  <a:off x="6405900" y="3172387"/>
                  <a:ext cx="767675" cy="159235"/>
                  <a:chOff x="6558300" y="2056243"/>
                  <a:chExt cx="767675" cy="159235"/>
                </a:xfrm>
                <a:grpFill/>
              </p:grpSpPr>
              <p:sp>
                <p:nvSpPr>
                  <p:cNvPr id="239" name="Rectangle 238"/>
                  <p:cNvSpPr/>
                  <p:nvPr/>
                </p:nvSpPr>
                <p:spPr bwMode="auto">
                  <a:xfrm>
                    <a:off x="6744802" y="2056243"/>
                    <a:ext cx="159235" cy="15923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40" name="Rectangle 239"/>
                  <p:cNvSpPr/>
                  <p:nvPr/>
                </p:nvSpPr>
                <p:spPr bwMode="auto">
                  <a:xfrm>
                    <a:off x="6980237" y="2056243"/>
                    <a:ext cx="159235" cy="15923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41" name="Rectangle 240"/>
                  <p:cNvSpPr/>
                  <p:nvPr/>
                </p:nvSpPr>
                <p:spPr bwMode="auto">
                  <a:xfrm>
                    <a:off x="7166740" y="2056243"/>
                    <a:ext cx="159235" cy="15923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42" name="Rectangle 241"/>
                  <p:cNvSpPr/>
                  <p:nvPr/>
                </p:nvSpPr>
                <p:spPr bwMode="auto">
                  <a:xfrm>
                    <a:off x="6558300" y="2056243"/>
                    <a:ext cx="159235" cy="15923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grpSp>
              <p:nvGrpSpPr>
                <p:cNvPr id="229" name="Group 228"/>
                <p:cNvGrpSpPr/>
                <p:nvPr/>
              </p:nvGrpSpPr>
              <p:grpSpPr>
                <a:xfrm rot="5400000">
                  <a:off x="7039472" y="2555037"/>
                  <a:ext cx="767674" cy="159243"/>
                  <a:chOff x="6558301" y="2073786"/>
                  <a:chExt cx="767674" cy="159243"/>
                </a:xfrm>
                <a:grpFill/>
              </p:grpSpPr>
              <p:sp>
                <p:nvSpPr>
                  <p:cNvPr id="235" name="Rectangle 234"/>
                  <p:cNvSpPr/>
                  <p:nvPr/>
                </p:nvSpPr>
                <p:spPr bwMode="auto">
                  <a:xfrm>
                    <a:off x="6744802" y="2073788"/>
                    <a:ext cx="159235" cy="15923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36" name="Rectangle 235"/>
                  <p:cNvSpPr/>
                  <p:nvPr/>
                </p:nvSpPr>
                <p:spPr bwMode="auto">
                  <a:xfrm>
                    <a:off x="6980237" y="2073794"/>
                    <a:ext cx="159235" cy="15923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37" name="Rectangle 236"/>
                  <p:cNvSpPr/>
                  <p:nvPr/>
                </p:nvSpPr>
                <p:spPr bwMode="auto">
                  <a:xfrm>
                    <a:off x="7166740" y="2073789"/>
                    <a:ext cx="159235" cy="159234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38" name="Rectangle 237"/>
                  <p:cNvSpPr/>
                  <p:nvPr/>
                </p:nvSpPr>
                <p:spPr bwMode="auto">
                  <a:xfrm>
                    <a:off x="6558301" y="2073786"/>
                    <a:ext cx="159235" cy="159236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grpSp>
              <p:nvGrpSpPr>
                <p:cNvPr id="230" name="Group 229"/>
                <p:cNvGrpSpPr/>
                <p:nvPr/>
              </p:nvGrpSpPr>
              <p:grpSpPr>
                <a:xfrm rot="5400000">
                  <a:off x="5756927" y="2549314"/>
                  <a:ext cx="767675" cy="159235"/>
                  <a:chOff x="6558300" y="2056243"/>
                  <a:chExt cx="767675" cy="159235"/>
                </a:xfrm>
                <a:grpFill/>
              </p:grpSpPr>
              <p:sp>
                <p:nvSpPr>
                  <p:cNvPr id="231" name="Rectangle 230"/>
                  <p:cNvSpPr/>
                  <p:nvPr/>
                </p:nvSpPr>
                <p:spPr bwMode="auto">
                  <a:xfrm>
                    <a:off x="6744802" y="2056243"/>
                    <a:ext cx="159235" cy="15923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32" name="Rectangle 231"/>
                  <p:cNvSpPr/>
                  <p:nvPr/>
                </p:nvSpPr>
                <p:spPr bwMode="auto">
                  <a:xfrm>
                    <a:off x="6980237" y="2056243"/>
                    <a:ext cx="159235" cy="15923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33" name="Rectangle 232"/>
                  <p:cNvSpPr/>
                  <p:nvPr/>
                </p:nvSpPr>
                <p:spPr bwMode="auto">
                  <a:xfrm>
                    <a:off x="7166740" y="2056243"/>
                    <a:ext cx="159235" cy="15923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34" name="Rectangle 233"/>
                  <p:cNvSpPr/>
                  <p:nvPr/>
                </p:nvSpPr>
                <p:spPr bwMode="auto">
                  <a:xfrm>
                    <a:off x="6558300" y="2056243"/>
                    <a:ext cx="159235" cy="15923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353" b="0" i="0" u="none" strike="noStrike" kern="1200" cap="none" spc="0" normalizeH="0" baseline="0" noProof="0" err="1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  <p:sp>
            <p:nvSpPr>
              <p:cNvPr id="219" name="TextBox 218"/>
              <p:cNvSpPr txBox="1"/>
              <p:nvPr/>
            </p:nvSpPr>
            <p:spPr>
              <a:xfrm>
                <a:off x="10284039" y="5641895"/>
                <a:ext cx="536887" cy="1260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1200" cap="none" spc="0" normalizeH="0" baseline="0" noProof="0">
                    <a:ln>
                      <a:noFill/>
                    </a:ln>
                    <a:solidFill>
                      <a:srgbClr val="355D7D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FPGAs</a:t>
                </a:r>
              </a:p>
            </p:txBody>
          </p:sp>
        </p:grpSp>
      </p:grpSp>
      <p:sp>
        <p:nvSpPr>
          <p:cNvPr id="10" name="TextBox 9"/>
          <p:cNvSpPr txBox="1"/>
          <p:nvPr/>
        </p:nvSpPr>
        <p:spPr>
          <a:xfrm>
            <a:off x="10307427" y="5170859"/>
            <a:ext cx="1032686" cy="411619"/>
          </a:xfrm>
          <a:prstGeom prst="rect">
            <a:avLst/>
          </a:prstGeom>
          <a:noFill/>
        </p:spPr>
        <p:txBody>
          <a:bodyPr wrap="none" lIns="109712" tIns="109712" rIns="109712" bIns="109712" rtlCol="0">
            <a:spAutoFit/>
          </a:bodyPr>
          <a:lstStyle/>
          <a:p>
            <a:pPr marL="0" marR="0" lvl="0" indent="0" algn="l" defTabSz="1091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2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FFICIENCY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59104" y="-29517"/>
            <a:ext cx="10515600" cy="1325563"/>
          </a:xfrm>
        </p:spPr>
        <p:txBody>
          <a:bodyPr/>
          <a:lstStyle/>
          <a:p>
            <a:r>
              <a:rPr lang="en-US"/>
              <a:t>Microsoft Hardware Acceleratio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31726" y="5229181"/>
            <a:ext cx="990977" cy="2823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91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2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FLEXIBILITY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664604" y="3008609"/>
            <a:ext cx="2230235" cy="1803316"/>
            <a:chOff x="641629" y="3068442"/>
            <a:chExt cx="2274956" cy="1839476"/>
          </a:xfrm>
        </p:grpSpPr>
        <p:sp>
          <p:nvSpPr>
            <p:cNvPr id="246" name="Rectangle 245"/>
            <p:cNvSpPr/>
            <p:nvPr/>
          </p:nvSpPr>
          <p:spPr bwMode="auto">
            <a:xfrm>
              <a:off x="641629" y="3068442"/>
              <a:ext cx="2274956" cy="1839476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2" name="Freeform 73"/>
            <p:cNvSpPr>
              <a:spLocks noChangeAspect="1" noEditPoints="1"/>
            </p:cNvSpPr>
            <p:nvPr/>
          </p:nvSpPr>
          <p:spPr bwMode="black">
            <a:xfrm>
              <a:off x="1002589" y="3243121"/>
              <a:ext cx="1497155" cy="1497149"/>
            </a:xfrm>
            <a:custGeom>
              <a:avLst/>
              <a:gdLst>
                <a:gd name="T0" fmla="*/ 313 w 330"/>
                <a:gd name="T1" fmla="*/ 161 h 330"/>
                <a:gd name="T2" fmla="*/ 313 w 330"/>
                <a:gd name="T3" fmla="*/ 128 h 330"/>
                <a:gd name="T4" fmla="*/ 284 w 330"/>
                <a:gd name="T5" fmla="*/ 137 h 330"/>
                <a:gd name="T6" fmla="*/ 298 w 330"/>
                <a:gd name="T7" fmla="*/ 111 h 330"/>
                <a:gd name="T8" fmla="*/ 330 w 330"/>
                <a:gd name="T9" fmla="*/ 103 h 330"/>
                <a:gd name="T10" fmla="*/ 298 w 330"/>
                <a:gd name="T11" fmla="*/ 95 h 330"/>
                <a:gd name="T12" fmla="*/ 284 w 330"/>
                <a:gd name="T13" fmla="*/ 87 h 330"/>
                <a:gd name="T14" fmla="*/ 235 w 330"/>
                <a:gd name="T15" fmla="*/ 46 h 330"/>
                <a:gd name="T16" fmla="*/ 244 w 330"/>
                <a:gd name="T17" fmla="*/ 17 h 330"/>
                <a:gd name="T18" fmla="*/ 211 w 330"/>
                <a:gd name="T19" fmla="*/ 17 h 330"/>
                <a:gd name="T20" fmla="*/ 219 w 330"/>
                <a:gd name="T21" fmla="*/ 46 h 330"/>
                <a:gd name="T22" fmla="*/ 194 w 330"/>
                <a:gd name="T23" fmla="*/ 32 h 330"/>
                <a:gd name="T24" fmla="*/ 186 w 330"/>
                <a:gd name="T25" fmla="*/ 0 h 330"/>
                <a:gd name="T26" fmla="*/ 178 w 330"/>
                <a:gd name="T27" fmla="*/ 32 h 330"/>
                <a:gd name="T28" fmla="*/ 152 w 330"/>
                <a:gd name="T29" fmla="*/ 46 h 330"/>
                <a:gd name="T30" fmla="*/ 161 w 330"/>
                <a:gd name="T31" fmla="*/ 17 h 330"/>
                <a:gd name="T32" fmla="*/ 128 w 330"/>
                <a:gd name="T33" fmla="*/ 17 h 330"/>
                <a:gd name="T34" fmla="*/ 137 w 330"/>
                <a:gd name="T35" fmla="*/ 46 h 330"/>
                <a:gd name="T36" fmla="*/ 111 w 330"/>
                <a:gd name="T37" fmla="*/ 32 h 330"/>
                <a:gd name="T38" fmla="*/ 103 w 330"/>
                <a:gd name="T39" fmla="*/ 0 h 330"/>
                <a:gd name="T40" fmla="*/ 95 w 330"/>
                <a:gd name="T41" fmla="*/ 32 h 330"/>
                <a:gd name="T42" fmla="*/ 87 w 330"/>
                <a:gd name="T43" fmla="*/ 46 h 330"/>
                <a:gd name="T44" fmla="*/ 46 w 330"/>
                <a:gd name="T45" fmla="*/ 95 h 330"/>
                <a:gd name="T46" fmla="*/ 17 w 330"/>
                <a:gd name="T47" fmla="*/ 86 h 330"/>
                <a:gd name="T48" fmla="*/ 17 w 330"/>
                <a:gd name="T49" fmla="*/ 120 h 330"/>
                <a:gd name="T50" fmla="*/ 46 w 330"/>
                <a:gd name="T51" fmla="*/ 111 h 330"/>
                <a:gd name="T52" fmla="*/ 32 w 330"/>
                <a:gd name="T53" fmla="*/ 137 h 330"/>
                <a:gd name="T54" fmla="*/ 0 w 330"/>
                <a:gd name="T55" fmla="*/ 144 h 330"/>
                <a:gd name="T56" fmla="*/ 32 w 330"/>
                <a:gd name="T57" fmla="*/ 152 h 330"/>
                <a:gd name="T58" fmla="*/ 46 w 330"/>
                <a:gd name="T59" fmla="*/ 178 h 330"/>
                <a:gd name="T60" fmla="*/ 17 w 330"/>
                <a:gd name="T61" fmla="*/ 169 h 330"/>
                <a:gd name="T62" fmla="*/ 17 w 330"/>
                <a:gd name="T63" fmla="*/ 203 h 330"/>
                <a:gd name="T64" fmla="*/ 46 w 330"/>
                <a:gd name="T65" fmla="*/ 194 h 330"/>
                <a:gd name="T66" fmla="*/ 32 w 330"/>
                <a:gd name="T67" fmla="*/ 219 h 330"/>
                <a:gd name="T68" fmla="*/ 0 w 330"/>
                <a:gd name="T69" fmla="*/ 227 h 330"/>
                <a:gd name="T70" fmla="*/ 32 w 330"/>
                <a:gd name="T71" fmla="*/ 235 h 330"/>
                <a:gd name="T72" fmla="*/ 46 w 330"/>
                <a:gd name="T73" fmla="*/ 243 h 330"/>
                <a:gd name="T74" fmla="*/ 95 w 330"/>
                <a:gd name="T75" fmla="*/ 284 h 330"/>
                <a:gd name="T76" fmla="*/ 86 w 330"/>
                <a:gd name="T77" fmla="*/ 313 h 330"/>
                <a:gd name="T78" fmla="*/ 120 w 330"/>
                <a:gd name="T79" fmla="*/ 313 h 330"/>
                <a:gd name="T80" fmla="*/ 111 w 330"/>
                <a:gd name="T81" fmla="*/ 284 h 330"/>
                <a:gd name="T82" fmla="*/ 137 w 330"/>
                <a:gd name="T83" fmla="*/ 298 h 330"/>
                <a:gd name="T84" fmla="*/ 144 w 330"/>
                <a:gd name="T85" fmla="*/ 330 h 330"/>
                <a:gd name="T86" fmla="*/ 152 w 330"/>
                <a:gd name="T87" fmla="*/ 298 h 330"/>
                <a:gd name="T88" fmla="*/ 178 w 330"/>
                <a:gd name="T89" fmla="*/ 284 h 330"/>
                <a:gd name="T90" fmla="*/ 169 w 330"/>
                <a:gd name="T91" fmla="*/ 313 h 330"/>
                <a:gd name="T92" fmla="*/ 203 w 330"/>
                <a:gd name="T93" fmla="*/ 313 h 330"/>
                <a:gd name="T94" fmla="*/ 194 w 330"/>
                <a:gd name="T95" fmla="*/ 284 h 330"/>
                <a:gd name="T96" fmla="*/ 219 w 330"/>
                <a:gd name="T97" fmla="*/ 298 h 330"/>
                <a:gd name="T98" fmla="*/ 227 w 330"/>
                <a:gd name="T99" fmla="*/ 330 h 330"/>
                <a:gd name="T100" fmla="*/ 235 w 330"/>
                <a:gd name="T101" fmla="*/ 298 h 330"/>
                <a:gd name="T102" fmla="*/ 243 w 330"/>
                <a:gd name="T103" fmla="*/ 284 h 330"/>
                <a:gd name="T104" fmla="*/ 284 w 330"/>
                <a:gd name="T105" fmla="*/ 235 h 330"/>
                <a:gd name="T106" fmla="*/ 313 w 330"/>
                <a:gd name="T107" fmla="*/ 244 h 330"/>
                <a:gd name="T108" fmla="*/ 313 w 330"/>
                <a:gd name="T109" fmla="*/ 211 h 330"/>
                <a:gd name="T110" fmla="*/ 284 w 330"/>
                <a:gd name="T111" fmla="*/ 219 h 330"/>
                <a:gd name="T112" fmla="*/ 298 w 330"/>
                <a:gd name="T113" fmla="*/ 194 h 330"/>
                <a:gd name="T114" fmla="*/ 330 w 330"/>
                <a:gd name="T115" fmla="*/ 186 h 330"/>
                <a:gd name="T116" fmla="*/ 298 w 330"/>
                <a:gd name="T117" fmla="*/ 178 h 330"/>
                <a:gd name="T118" fmla="*/ 284 w 330"/>
                <a:gd name="T119" fmla="*/ 152 h 330"/>
                <a:gd name="T120" fmla="*/ 165 w 330"/>
                <a:gd name="T121" fmla="*/ 267 h 330"/>
                <a:gd name="T122" fmla="*/ 165 w 330"/>
                <a:gd name="T123" fmla="*/ 63 h 330"/>
                <a:gd name="T124" fmla="*/ 165 w 330"/>
                <a:gd name="T125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0" h="330">
                  <a:moveTo>
                    <a:pt x="298" y="152"/>
                  </a:moveTo>
                  <a:cubicBezTo>
                    <a:pt x="301" y="158"/>
                    <a:pt x="307" y="161"/>
                    <a:pt x="313" y="161"/>
                  </a:cubicBezTo>
                  <a:cubicBezTo>
                    <a:pt x="322" y="161"/>
                    <a:pt x="330" y="154"/>
                    <a:pt x="330" y="144"/>
                  </a:cubicBezTo>
                  <a:cubicBezTo>
                    <a:pt x="330" y="135"/>
                    <a:pt x="322" y="128"/>
                    <a:pt x="313" y="128"/>
                  </a:cubicBezTo>
                  <a:cubicBezTo>
                    <a:pt x="307" y="128"/>
                    <a:pt x="301" y="131"/>
                    <a:pt x="298" y="137"/>
                  </a:cubicBezTo>
                  <a:cubicBezTo>
                    <a:pt x="284" y="137"/>
                    <a:pt x="284" y="137"/>
                    <a:pt x="284" y="137"/>
                  </a:cubicBezTo>
                  <a:cubicBezTo>
                    <a:pt x="284" y="111"/>
                    <a:pt x="284" y="111"/>
                    <a:pt x="284" y="111"/>
                  </a:cubicBezTo>
                  <a:cubicBezTo>
                    <a:pt x="298" y="111"/>
                    <a:pt x="298" y="111"/>
                    <a:pt x="298" y="111"/>
                  </a:cubicBezTo>
                  <a:cubicBezTo>
                    <a:pt x="301" y="116"/>
                    <a:pt x="307" y="120"/>
                    <a:pt x="313" y="120"/>
                  </a:cubicBezTo>
                  <a:cubicBezTo>
                    <a:pt x="322" y="120"/>
                    <a:pt x="330" y="112"/>
                    <a:pt x="330" y="103"/>
                  </a:cubicBezTo>
                  <a:cubicBezTo>
                    <a:pt x="330" y="94"/>
                    <a:pt x="322" y="86"/>
                    <a:pt x="313" y="86"/>
                  </a:cubicBezTo>
                  <a:cubicBezTo>
                    <a:pt x="307" y="86"/>
                    <a:pt x="301" y="90"/>
                    <a:pt x="298" y="95"/>
                  </a:cubicBezTo>
                  <a:cubicBezTo>
                    <a:pt x="284" y="95"/>
                    <a:pt x="284" y="95"/>
                    <a:pt x="284" y="95"/>
                  </a:cubicBezTo>
                  <a:cubicBezTo>
                    <a:pt x="284" y="87"/>
                    <a:pt x="284" y="87"/>
                    <a:pt x="284" y="87"/>
                  </a:cubicBezTo>
                  <a:cubicBezTo>
                    <a:pt x="284" y="65"/>
                    <a:pt x="266" y="46"/>
                    <a:pt x="243" y="46"/>
                  </a:cubicBezTo>
                  <a:cubicBezTo>
                    <a:pt x="235" y="46"/>
                    <a:pt x="235" y="46"/>
                    <a:pt x="235" y="46"/>
                  </a:cubicBezTo>
                  <a:cubicBezTo>
                    <a:pt x="235" y="32"/>
                    <a:pt x="235" y="32"/>
                    <a:pt x="235" y="32"/>
                  </a:cubicBezTo>
                  <a:cubicBezTo>
                    <a:pt x="240" y="29"/>
                    <a:pt x="244" y="23"/>
                    <a:pt x="244" y="17"/>
                  </a:cubicBezTo>
                  <a:cubicBezTo>
                    <a:pt x="244" y="8"/>
                    <a:pt x="237" y="0"/>
                    <a:pt x="227" y="0"/>
                  </a:cubicBezTo>
                  <a:cubicBezTo>
                    <a:pt x="218" y="0"/>
                    <a:pt x="211" y="8"/>
                    <a:pt x="211" y="17"/>
                  </a:cubicBezTo>
                  <a:cubicBezTo>
                    <a:pt x="211" y="23"/>
                    <a:pt x="214" y="29"/>
                    <a:pt x="219" y="32"/>
                  </a:cubicBezTo>
                  <a:cubicBezTo>
                    <a:pt x="219" y="46"/>
                    <a:pt x="219" y="46"/>
                    <a:pt x="219" y="46"/>
                  </a:cubicBezTo>
                  <a:cubicBezTo>
                    <a:pt x="194" y="46"/>
                    <a:pt x="194" y="46"/>
                    <a:pt x="194" y="46"/>
                  </a:cubicBezTo>
                  <a:cubicBezTo>
                    <a:pt x="194" y="32"/>
                    <a:pt x="194" y="32"/>
                    <a:pt x="194" y="32"/>
                  </a:cubicBezTo>
                  <a:cubicBezTo>
                    <a:pt x="199" y="29"/>
                    <a:pt x="203" y="23"/>
                    <a:pt x="203" y="17"/>
                  </a:cubicBezTo>
                  <a:cubicBezTo>
                    <a:pt x="203" y="8"/>
                    <a:pt x="195" y="0"/>
                    <a:pt x="186" y="0"/>
                  </a:cubicBezTo>
                  <a:cubicBezTo>
                    <a:pt x="177" y="0"/>
                    <a:pt x="169" y="8"/>
                    <a:pt x="169" y="17"/>
                  </a:cubicBezTo>
                  <a:cubicBezTo>
                    <a:pt x="169" y="23"/>
                    <a:pt x="173" y="29"/>
                    <a:pt x="178" y="32"/>
                  </a:cubicBezTo>
                  <a:cubicBezTo>
                    <a:pt x="178" y="46"/>
                    <a:pt x="178" y="46"/>
                    <a:pt x="178" y="46"/>
                  </a:cubicBezTo>
                  <a:cubicBezTo>
                    <a:pt x="152" y="46"/>
                    <a:pt x="152" y="46"/>
                    <a:pt x="152" y="46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8" y="29"/>
                    <a:pt x="161" y="23"/>
                    <a:pt x="161" y="17"/>
                  </a:cubicBezTo>
                  <a:cubicBezTo>
                    <a:pt x="161" y="8"/>
                    <a:pt x="154" y="0"/>
                    <a:pt x="144" y="0"/>
                  </a:cubicBezTo>
                  <a:cubicBezTo>
                    <a:pt x="135" y="0"/>
                    <a:pt x="128" y="8"/>
                    <a:pt x="128" y="17"/>
                  </a:cubicBezTo>
                  <a:cubicBezTo>
                    <a:pt x="128" y="23"/>
                    <a:pt x="131" y="29"/>
                    <a:pt x="137" y="32"/>
                  </a:cubicBezTo>
                  <a:cubicBezTo>
                    <a:pt x="137" y="46"/>
                    <a:pt x="137" y="46"/>
                    <a:pt x="137" y="46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6" y="29"/>
                    <a:pt x="120" y="23"/>
                    <a:pt x="120" y="17"/>
                  </a:cubicBezTo>
                  <a:cubicBezTo>
                    <a:pt x="120" y="8"/>
                    <a:pt x="112" y="0"/>
                    <a:pt x="103" y="0"/>
                  </a:cubicBezTo>
                  <a:cubicBezTo>
                    <a:pt x="94" y="0"/>
                    <a:pt x="86" y="8"/>
                    <a:pt x="86" y="17"/>
                  </a:cubicBezTo>
                  <a:cubicBezTo>
                    <a:pt x="86" y="23"/>
                    <a:pt x="90" y="29"/>
                    <a:pt x="95" y="32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65" y="46"/>
                    <a:pt x="46" y="65"/>
                    <a:pt x="46" y="87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29" y="90"/>
                    <a:pt x="23" y="86"/>
                    <a:pt x="17" y="86"/>
                  </a:cubicBezTo>
                  <a:cubicBezTo>
                    <a:pt x="8" y="86"/>
                    <a:pt x="0" y="94"/>
                    <a:pt x="0" y="103"/>
                  </a:cubicBezTo>
                  <a:cubicBezTo>
                    <a:pt x="0" y="112"/>
                    <a:pt x="8" y="120"/>
                    <a:pt x="17" y="120"/>
                  </a:cubicBezTo>
                  <a:cubicBezTo>
                    <a:pt x="23" y="120"/>
                    <a:pt x="29" y="116"/>
                    <a:pt x="32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37"/>
                    <a:pt x="46" y="137"/>
                    <a:pt x="46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29" y="131"/>
                    <a:pt x="23" y="128"/>
                    <a:pt x="17" y="128"/>
                  </a:cubicBezTo>
                  <a:cubicBezTo>
                    <a:pt x="8" y="128"/>
                    <a:pt x="0" y="135"/>
                    <a:pt x="0" y="144"/>
                  </a:cubicBezTo>
                  <a:cubicBezTo>
                    <a:pt x="0" y="154"/>
                    <a:pt x="8" y="161"/>
                    <a:pt x="17" y="161"/>
                  </a:cubicBezTo>
                  <a:cubicBezTo>
                    <a:pt x="23" y="161"/>
                    <a:pt x="29" y="158"/>
                    <a:pt x="32" y="152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32" y="178"/>
                    <a:pt x="32" y="178"/>
                    <a:pt x="32" y="178"/>
                  </a:cubicBezTo>
                  <a:cubicBezTo>
                    <a:pt x="29" y="173"/>
                    <a:pt x="23" y="169"/>
                    <a:pt x="17" y="169"/>
                  </a:cubicBezTo>
                  <a:cubicBezTo>
                    <a:pt x="8" y="169"/>
                    <a:pt x="0" y="177"/>
                    <a:pt x="0" y="186"/>
                  </a:cubicBezTo>
                  <a:cubicBezTo>
                    <a:pt x="0" y="195"/>
                    <a:pt x="8" y="203"/>
                    <a:pt x="17" y="203"/>
                  </a:cubicBezTo>
                  <a:cubicBezTo>
                    <a:pt x="23" y="203"/>
                    <a:pt x="29" y="199"/>
                    <a:pt x="32" y="194"/>
                  </a:cubicBezTo>
                  <a:cubicBezTo>
                    <a:pt x="46" y="194"/>
                    <a:pt x="46" y="194"/>
                    <a:pt x="46" y="194"/>
                  </a:cubicBezTo>
                  <a:cubicBezTo>
                    <a:pt x="46" y="219"/>
                    <a:pt x="46" y="219"/>
                    <a:pt x="46" y="219"/>
                  </a:cubicBezTo>
                  <a:cubicBezTo>
                    <a:pt x="32" y="219"/>
                    <a:pt x="32" y="219"/>
                    <a:pt x="32" y="219"/>
                  </a:cubicBezTo>
                  <a:cubicBezTo>
                    <a:pt x="29" y="214"/>
                    <a:pt x="23" y="211"/>
                    <a:pt x="17" y="211"/>
                  </a:cubicBezTo>
                  <a:cubicBezTo>
                    <a:pt x="8" y="211"/>
                    <a:pt x="0" y="218"/>
                    <a:pt x="0" y="227"/>
                  </a:cubicBezTo>
                  <a:cubicBezTo>
                    <a:pt x="0" y="237"/>
                    <a:pt x="8" y="244"/>
                    <a:pt x="17" y="244"/>
                  </a:cubicBezTo>
                  <a:cubicBezTo>
                    <a:pt x="23" y="244"/>
                    <a:pt x="29" y="240"/>
                    <a:pt x="32" y="235"/>
                  </a:cubicBezTo>
                  <a:cubicBezTo>
                    <a:pt x="46" y="235"/>
                    <a:pt x="46" y="235"/>
                    <a:pt x="46" y="235"/>
                  </a:cubicBezTo>
                  <a:cubicBezTo>
                    <a:pt x="46" y="243"/>
                    <a:pt x="46" y="243"/>
                    <a:pt x="46" y="243"/>
                  </a:cubicBezTo>
                  <a:cubicBezTo>
                    <a:pt x="46" y="266"/>
                    <a:pt x="65" y="284"/>
                    <a:pt x="87" y="284"/>
                  </a:cubicBezTo>
                  <a:cubicBezTo>
                    <a:pt x="95" y="284"/>
                    <a:pt x="95" y="284"/>
                    <a:pt x="95" y="284"/>
                  </a:cubicBezTo>
                  <a:cubicBezTo>
                    <a:pt x="95" y="298"/>
                    <a:pt x="95" y="298"/>
                    <a:pt x="95" y="298"/>
                  </a:cubicBezTo>
                  <a:cubicBezTo>
                    <a:pt x="90" y="301"/>
                    <a:pt x="86" y="307"/>
                    <a:pt x="86" y="313"/>
                  </a:cubicBezTo>
                  <a:cubicBezTo>
                    <a:pt x="86" y="322"/>
                    <a:pt x="94" y="330"/>
                    <a:pt x="103" y="330"/>
                  </a:cubicBezTo>
                  <a:cubicBezTo>
                    <a:pt x="112" y="330"/>
                    <a:pt x="120" y="322"/>
                    <a:pt x="120" y="313"/>
                  </a:cubicBezTo>
                  <a:cubicBezTo>
                    <a:pt x="120" y="307"/>
                    <a:pt x="116" y="301"/>
                    <a:pt x="111" y="298"/>
                  </a:cubicBezTo>
                  <a:cubicBezTo>
                    <a:pt x="111" y="284"/>
                    <a:pt x="111" y="284"/>
                    <a:pt x="111" y="284"/>
                  </a:cubicBezTo>
                  <a:cubicBezTo>
                    <a:pt x="137" y="284"/>
                    <a:pt x="137" y="284"/>
                    <a:pt x="137" y="284"/>
                  </a:cubicBezTo>
                  <a:cubicBezTo>
                    <a:pt x="137" y="298"/>
                    <a:pt x="137" y="298"/>
                    <a:pt x="137" y="298"/>
                  </a:cubicBezTo>
                  <a:cubicBezTo>
                    <a:pt x="131" y="301"/>
                    <a:pt x="128" y="307"/>
                    <a:pt x="128" y="313"/>
                  </a:cubicBezTo>
                  <a:cubicBezTo>
                    <a:pt x="128" y="322"/>
                    <a:pt x="135" y="330"/>
                    <a:pt x="144" y="330"/>
                  </a:cubicBezTo>
                  <a:cubicBezTo>
                    <a:pt x="154" y="330"/>
                    <a:pt x="161" y="322"/>
                    <a:pt x="161" y="313"/>
                  </a:cubicBezTo>
                  <a:cubicBezTo>
                    <a:pt x="161" y="307"/>
                    <a:pt x="158" y="301"/>
                    <a:pt x="152" y="298"/>
                  </a:cubicBezTo>
                  <a:cubicBezTo>
                    <a:pt x="152" y="284"/>
                    <a:pt x="152" y="284"/>
                    <a:pt x="152" y="284"/>
                  </a:cubicBezTo>
                  <a:cubicBezTo>
                    <a:pt x="178" y="284"/>
                    <a:pt x="178" y="284"/>
                    <a:pt x="178" y="284"/>
                  </a:cubicBezTo>
                  <a:cubicBezTo>
                    <a:pt x="178" y="298"/>
                    <a:pt x="178" y="298"/>
                    <a:pt x="178" y="298"/>
                  </a:cubicBezTo>
                  <a:cubicBezTo>
                    <a:pt x="173" y="301"/>
                    <a:pt x="169" y="307"/>
                    <a:pt x="169" y="313"/>
                  </a:cubicBezTo>
                  <a:cubicBezTo>
                    <a:pt x="169" y="322"/>
                    <a:pt x="177" y="330"/>
                    <a:pt x="186" y="330"/>
                  </a:cubicBezTo>
                  <a:cubicBezTo>
                    <a:pt x="195" y="330"/>
                    <a:pt x="203" y="322"/>
                    <a:pt x="203" y="313"/>
                  </a:cubicBezTo>
                  <a:cubicBezTo>
                    <a:pt x="203" y="307"/>
                    <a:pt x="199" y="301"/>
                    <a:pt x="194" y="298"/>
                  </a:cubicBezTo>
                  <a:cubicBezTo>
                    <a:pt x="194" y="284"/>
                    <a:pt x="194" y="284"/>
                    <a:pt x="194" y="284"/>
                  </a:cubicBezTo>
                  <a:cubicBezTo>
                    <a:pt x="219" y="284"/>
                    <a:pt x="219" y="284"/>
                    <a:pt x="219" y="284"/>
                  </a:cubicBezTo>
                  <a:cubicBezTo>
                    <a:pt x="219" y="298"/>
                    <a:pt x="219" y="298"/>
                    <a:pt x="219" y="298"/>
                  </a:cubicBezTo>
                  <a:cubicBezTo>
                    <a:pt x="214" y="301"/>
                    <a:pt x="211" y="307"/>
                    <a:pt x="211" y="313"/>
                  </a:cubicBezTo>
                  <a:cubicBezTo>
                    <a:pt x="211" y="322"/>
                    <a:pt x="218" y="330"/>
                    <a:pt x="227" y="330"/>
                  </a:cubicBezTo>
                  <a:cubicBezTo>
                    <a:pt x="237" y="330"/>
                    <a:pt x="244" y="322"/>
                    <a:pt x="244" y="313"/>
                  </a:cubicBezTo>
                  <a:cubicBezTo>
                    <a:pt x="244" y="307"/>
                    <a:pt x="240" y="301"/>
                    <a:pt x="235" y="298"/>
                  </a:cubicBezTo>
                  <a:cubicBezTo>
                    <a:pt x="235" y="284"/>
                    <a:pt x="235" y="284"/>
                    <a:pt x="235" y="284"/>
                  </a:cubicBezTo>
                  <a:cubicBezTo>
                    <a:pt x="243" y="284"/>
                    <a:pt x="243" y="284"/>
                    <a:pt x="243" y="284"/>
                  </a:cubicBezTo>
                  <a:cubicBezTo>
                    <a:pt x="266" y="284"/>
                    <a:pt x="284" y="266"/>
                    <a:pt x="284" y="243"/>
                  </a:cubicBezTo>
                  <a:cubicBezTo>
                    <a:pt x="284" y="235"/>
                    <a:pt x="284" y="235"/>
                    <a:pt x="284" y="235"/>
                  </a:cubicBezTo>
                  <a:cubicBezTo>
                    <a:pt x="298" y="235"/>
                    <a:pt x="298" y="235"/>
                    <a:pt x="298" y="235"/>
                  </a:cubicBezTo>
                  <a:cubicBezTo>
                    <a:pt x="301" y="240"/>
                    <a:pt x="307" y="244"/>
                    <a:pt x="313" y="244"/>
                  </a:cubicBezTo>
                  <a:cubicBezTo>
                    <a:pt x="322" y="244"/>
                    <a:pt x="330" y="237"/>
                    <a:pt x="330" y="227"/>
                  </a:cubicBezTo>
                  <a:cubicBezTo>
                    <a:pt x="330" y="218"/>
                    <a:pt x="322" y="211"/>
                    <a:pt x="313" y="211"/>
                  </a:cubicBezTo>
                  <a:cubicBezTo>
                    <a:pt x="307" y="211"/>
                    <a:pt x="301" y="214"/>
                    <a:pt x="298" y="219"/>
                  </a:cubicBezTo>
                  <a:cubicBezTo>
                    <a:pt x="284" y="219"/>
                    <a:pt x="284" y="219"/>
                    <a:pt x="284" y="219"/>
                  </a:cubicBezTo>
                  <a:cubicBezTo>
                    <a:pt x="284" y="194"/>
                    <a:pt x="284" y="194"/>
                    <a:pt x="284" y="194"/>
                  </a:cubicBezTo>
                  <a:cubicBezTo>
                    <a:pt x="298" y="194"/>
                    <a:pt x="298" y="194"/>
                    <a:pt x="298" y="194"/>
                  </a:cubicBezTo>
                  <a:cubicBezTo>
                    <a:pt x="301" y="199"/>
                    <a:pt x="307" y="203"/>
                    <a:pt x="313" y="203"/>
                  </a:cubicBezTo>
                  <a:cubicBezTo>
                    <a:pt x="322" y="203"/>
                    <a:pt x="330" y="195"/>
                    <a:pt x="330" y="186"/>
                  </a:cubicBezTo>
                  <a:cubicBezTo>
                    <a:pt x="330" y="177"/>
                    <a:pt x="322" y="169"/>
                    <a:pt x="313" y="169"/>
                  </a:cubicBezTo>
                  <a:cubicBezTo>
                    <a:pt x="307" y="169"/>
                    <a:pt x="301" y="173"/>
                    <a:pt x="298" y="178"/>
                  </a:cubicBezTo>
                  <a:cubicBezTo>
                    <a:pt x="284" y="178"/>
                    <a:pt x="284" y="178"/>
                    <a:pt x="284" y="178"/>
                  </a:cubicBezTo>
                  <a:cubicBezTo>
                    <a:pt x="284" y="152"/>
                    <a:pt x="284" y="152"/>
                    <a:pt x="284" y="152"/>
                  </a:cubicBezTo>
                  <a:lnTo>
                    <a:pt x="298" y="152"/>
                  </a:lnTo>
                  <a:close/>
                  <a:moveTo>
                    <a:pt x="165" y="267"/>
                  </a:moveTo>
                  <a:cubicBezTo>
                    <a:pt x="109" y="267"/>
                    <a:pt x="63" y="221"/>
                    <a:pt x="63" y="165"/>
                  </a:cubicBezTo>
                  <a:cubicBezTo>
                    <a:pt x="63" y="109"/>
                    <a:pt x="109" y="63"/>
                    <a:pt x="165" y="63"/>
                  </a:cubicBezTo>
                  <a:cubicBezTo>
                    <a:pt x="221" y="63"/>
                    <a:pt x="267" y="109"/>
                    <a:pt x="267" y="165"/>
                  </a:cubicBezTo>
                  <a:cubicBezTo>
                    <a:pt x="267" y="221"/>
                    <a:pt x="221" y="267"/>
                    <a:pt x="165" y="26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5761" tIns="140609" rIns="175761" bIns="1406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609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CPUs</a:t>
              </a:r>
            </a:p>
          </p:txBody>
        </p:sp>
      </p:grpSp>
      <p:grpSp>
        <p:nvGrpSpPr>
          <p:cNvPr id="286" name="Group 285"/>
          <p:cNvGrpSpPr/>
          <p:nvPr/>
        </p:nvGrpSpPr>
        <p:grpSpPr>
          <a:xfrm>
            <a:off x="3467073" y="2995177"/>
            <a:ext cx="2214169" cy="1803315"/>
            <a:chOff x="3551237" y="3068442"/>
            <a:chExt cx="2258568" cy="1839475"/>
          </a:xfrm>
        </p:grpSpPr>
        <p:sp>
          <p:nvSpPr>
            <p:cNvPr id="18" name="Rectangle 17"/>
            <p:cNvSpPr/>
            <p:nvPr/>
          </p:nvSpPr>
          <p:spPr bwMode="auto">
            <a:xfrm>
              <a:off x="3551237" y="3068442"/>
              <a:ext cx="2258568" cy="1839475"/>
            </a:xfrm>
            <a:prstGeom prst="rect">
              <a:avLst/>
            </a:prstGeom>
            <a:solidFill>
              <a:srgbClr val="1E69A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grpSp>
          <p:nvGrpSpPr>
            <p:cNvPr id="225" name="Group 224"/>
            <p:cNvGrpSpPr/>
            <p:nvPr/>
          </p:nvGrpSpPr>
          <p:grpSpPr>
            <a:xfrm>
              <a:off x="3932237" y="3434182"/>
              <a:ext cx="1511939" cy="1176630"/>
              <a:chOff x="4851538" y="3434182"/>
              <a:chExt cx="1511939" cy="1176630"/>
            </a:xfrm>
          </p:grpSpPr>
          <p:pic>
            <p:nvPicPr>
              <p:cNvPr id="224" name="Picture 223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51538" y="3434182"/>
                <a:ext cx="1511939" cy="1176630"/>
              </a:xfrm>
              <a:prstGeom prst="rect">
                <a:avLst/>
              </a:prstGeom>
            </p:spPr>
          </p:pic>
          <p:sp>
            <p:nvSpPr>
              <p:cNvPr id="25" name="Rectangle 24"/>
              <p:cNvSpPr/>
              <p:nvPr/>
            </p:nvSpPr>
            <p:spPr bwMode="auto">
              <a:xfrm>
                <a:off x="4957471" y="3819416"/>
                <a:ext cx="662288" cy="352770"/>
              </a:xfrm>
              <a:prstGeom prst="rect">
                <a:avLst/>
              </a:prstGeom>
              <a:solidFill>
                <a:srgbClr val="1E69A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3428" rIns="0" bIns="14342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9609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GPUs</a:t>
                </a:r>
              </a:p>
            </p:txBody>
          </p:sp>
        </p:grpSp>
      </p:grpSp>
      <p:grpSp>
        <p:nvGrpSpPr>
          <p:cNvPr id="106" name="Group 105"/>
          <p:cNvGrpSpPr/>
          <p:nvPr/>
        </p:nvGrpSpPr>
        <p:grpSpPr>
          <a:xfrm>
            <a:off x="9231768" y="3000707"/>
            <a:ext cx="2219205" cy="1809249"/>
            <a:chOff x="9412667" y="3051715"/>
            <a:chExt cx="2263705" cy="1845528"/>
          </a:xfrm>
        </p:grpSpPr>
        <p:sp>
          <p:nvSpPr>
            <p:cNvPr id="255" name="Rectangle 254"/>
            <p:cNvSpPr/>
            <p:nvPr/>
          </p:nvSpPr>
          <p:spPr bwMode="auto">
            <a:xfrm>
              <a:off x="9412667" y="3051715"/>
              <a:ext cx="2263705" cy="1845528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  <p:grpSp>
          <p:nvGrpSpPr>
            <p:cNvPr id="105" name="Group 104"/>
            <p:cNvGrpSpPr/>
            <p:nvPr/>
          </p:nvGrpSpPr>
          <p:grpSpPr>
            <a:xfrm>
              <a:off x="10082396" y="3309199"/>
              <a:ext cx="951556" cy="1369899"/>
              <a:chOff x="10082396" y="3309199"/>
              <a:chExt cx="951556" cy="1369899"/>
            </a:xfrm>
          </p:grpSpPr>
          <p:sp>
            <p:nvSpPr>
              <p:cNvPr id="249" name="Rectangle: Rounded Corners 248"/>
              <p:cNvSpPr/>
              <p:nvPr/>
            </p:nvSpPr>
            <p:spPr bwMode="auto">
              <a:xfrm>
                <a:off x="10082396" y="3521308"/>
                <a:ext cx="947237" cy="947237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8" name="TextBox 247"/>
              <p:cNvSpPr txBox="1"/>
              <p:nvPr/>
            </p:nvSpPr>
            <p:spPr>
              <a:xfrm>
                <a:off x="10088814" y="4100236"/>
                <a:ext cx="943869" cy="2215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ASICs</a:t>
                </a:r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10086533" y="3309199"/>
                <a:ext cx="945311" cy="152265"/>
                <a:chOff x="10326619" y="3309199"/>
                <a:chExt cx="945311" cy="152265"/>
              </a:xfrm>
            </p:grpSpPr>
            <p:sp>
              <p:nvSpPr>
                <p:cNvPr id="257" name="Rectangle 256"/>
                <p:cNvSpPr/>
                <p:nvPr/>
              </p:nvSpPr>
              <p:spPr bwMode="auto">
                <a:xfrm>
                  <a:off x="10503940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58" name="Rectangle 257"/>
                <p:cNvSpPr/>
                <p:nvPr/>
              </p:nvSpPr>
              <p:spPr bwMode="auto">
                <a:xfrm>
                  <a:off x="10681261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59" name="Rectangle 258"/>
                <p:cNvSpPr/>
                <p:nvPr/>
              </p:nvSpPr>
              <p:spPr bwMode="auto">
                <a:xfrm>
                  <a:off x="10858582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60" name="Rectangle 259"/>
                <p:cNvSpPr/>
                <p:nvPr/>
              </p:nvSpPr>
              <p:spPr bwMode="auto">
                <a:xfrm>
                  <a:off x="10326619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76" name="Rectangle 275"/>
                <p:cNvSpPr/>
                <p:nvPr/>
              </p:nvSpPr>
              <p:spPr bwMode="auto">
                <a:xfrm>
                  <a:off x="11035903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77" name="Rectangle 276"/>
                <p:cNvSpPr/>
                <p:nvPr/>
              </p:nvSpPr>
              <p:spPr bwMode="auto">
                <a:xfrm>
                  <a:off x="11213225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278" name="Group 277"/>
              <p:cNvGrpSpPr/>
              <p:nvPr/>
            </p:nvGrpSpPr>
            <p:grpSpPr>
              <a:xfrm>
                <a:off x="10088641" y="4526833"/>
                <a:ext cx="945311" cy="152265"/>
                <a:chOff x="10326619" y="3309199"/>
                <a:chExt cx="945311" cy="152265"/>
              </a:xfrm>
            </p:grpSpPr>
            <p:sp>
              <p:nvSpPr>
                <p:cNvPr id="279" name="Rectangle 278"/>
                <p:cNvSpPr/>
                <p:nvPr/>
              </p:nvSpPr>
              <p:spPr bwMode="auto">
                <a:xfrm>
                  <a:off x="10503940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80" name="Rectangle 279"/>
                <p:cNvSpPr/>
                <p:nvPr/>
              </p:nvSpPr>
              <p:spPr bwMode="auto">
                <a:xfrm>
                  <a:off x="10681261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81" name="Rectangle 280"/>
                <p:cNvSpPr/>
                <p:nvPr/>
              </p:nvSpPr>
              <p:spPr bwMode="auto">
                <a:xfrm>
                  <a:off x="10858582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82" name="Rectangle 281"/>
                <p:cNvSpPr/>
                <p:nvPr/>
              </p:nvSpPr>
              <p:spPr bwMode="auto">
                <a:xfrm>
                  <a:off x="10326619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83" name="Rectangle 282"/>
                <p:cNvSpPr/>
                <p:nvPr/>
              </p:nvSpPr>
              <p:spPr bwMode="auto">
                <a:xfrm>
                  <a:off x="11035903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84" name="Rectangle 283"/>
                <p:cNvSpPr/>
                <p:nvPr/>
              </p:nvSpPr>
              <p:spPr bwMode="auto">
                <a:xfrm>
                  <a:off x="11213225" y="3309199"/>
                  <a:ext cx="58705" cy="15226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85" name="Freeform 92"/>
              <p:cNvSpPr>
                <a:spLocks noChangeAspect="1" noEditPoints="1"/>
              </p:cNvSpPr>
              <p:nvPr/>
            </p:nvSpPr>
            <p:spPr bwMode="black">
              <a:xfrm>
                <a:off x="10435327" y="3684414"/>
                <a:ext cx="248042" cy="337957"/>
              </a:xfrm>
              <a:custGeom>
                <a:avLst/>
                <a:gdLst>
                  <a:gd name="T0" fmla="*/ 15 w 48"/>
                  <a:gd name="T1" fmla="*/ 11 h 66"/>
                  <a:gd name="T2" fmla="*/ 24 w 48"/>
                  <a:gd name="T3" fmla="*/ 9 h 66"/>
                  <a:gd name="T4" fmla="*/ 33 w 48"/>
                  <a:gd name="T5" fmla="*/ 11 h 66"/>
                  <a:gd name="T6" fmla="*/ 35 w 48"/>
                  <a:gd name="T7" fmla="*/ 23 h 66"/>
                  <a:gd name="T8" fmla="*/ 35 w 48"/>
                  <a:gd name="T9" fmla="*/ 25 h 66"/>
                  <a:gd name="T10" fmla="*/ 35 w 48"/>
                  <a:gd name="T11" fmla="*/ 27 h 66"/>
                  <a:gd name="T12" fmla="*/ 14 w 48"/>
                  <a:gd name="T13" fmla="*/ 27 h 66"/>
                  <a:gd name="T14" fmla="*/ 14 w 48"/>
                  <a:gd name="T15" fmla="*/ 25 h 66"/>
                  <a:gd name="T16" fmla="*/ 14 w 48"/>
                  <a:gd name="T17" fmla="*/ 22 h 66"/>
                  <a:gd name="T18" fmla="*/ 15 w 48"/>
                  <a:gd name="T19" fmla="*/ 11 h 66"/>
                  <a:gd name="T20" fmla="*/ 44 w 48"/>
                  <a:gd name="T21" fmla="*/ 28 h 66"/>
                  <a:gd name="T22" fmla="*/ 44 w 48"/>
                  <a:gd name="T23" fmla="*/ 25 h 66"/>
                  <a:gd name="T24" fmla="*/ 44 w 48"/>
                  <a:gd name="T25" fmla="*/ 23 h 66"/>
                  <a:gd name="T26" fmla="*/ 39 w 48"/>
                  <a:gd name="T27" fmla="*/ 5 h 66"/>
                  <a:gd name="T28" fmla="*/ 24 w 48"/>
                  <a:gd name="T29" fmla="*/ 0 h 66"/>
                  <a:gd name="T30" fmla="*/ 9 w 48"/>
                  <a:gd name="T31" fmla="*/ 5 h 66"/>
                  <a:gd name="T32" fmla="*/ 5 w 48"/>
                  <a:gd name="T33" fmla="*/ 22 h 66"/>
                  <a:gd name="T34" fmla="*/ 5 w 48"/>
                  <a:gd name="T35" fmla="*/ 25 h 66"/>
                  <a:gd name="T36" fmla="*/ 5 w 48"/>
                  <a:gd name="T37" fmla="*/ 27 h 66"/>
                  <a:gd name="T38" fmla="*/ 0 w 48"/>
                  <a:gd name="T39" fmla="*/ 32 h 66"/>
                  <a:gd name="T40" fmla="*/ 0 w 48"/>
                  <a:gd name="T41" fmla="*/ 62 h 66"/>
                  <a:gd name="T42" fmla="*/ 5 w 48"/>
                  <a:gd name="T43" fmla="*/ 66 h 66"/>
                  <a:gd name="T44" fmla="*/ 43 w 48"/>
                  <a:gd name="T45" fmla="*/ 66 h 66"/>
                  <a:gd name="T46" fmla="*/ 48 w 48"/>
                  <a:gd name="T47" fmla="*/ 62 h 66"/>
                  <a:gd name="T48" fmla="*/ 48 w 48"/>
                  <a:gd name="T49" fmla="*/ 32 h 66"/>
                  <a:gd name="T50" fmla="*/ 44 w 48"/>
                  <a:gd name="T51" fmla="*/ 2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66">
                    <a:moveTo>
                      <a:pt x="15" y="11"/>
                    </a:moveTo>
                    <a:cubicBezTo>
                      <a:pt x="17" y="10"/>
                      <a:pt x="20" y="9"/>
                      <a:pt x="24" y="9"/>
                    </a:cubicBezTo>
                    <a:cubicBezTo>
                      <a:pt x="29" y="9"/>
                      <a:pt x="32" y="10"/>
                      <a:pt x="33" y="11"/>
                    </a:cubicBezTo>
                    <a:cubicBezTo>
                      <a:pt x="35" y="13"/>
                      <a:pt x="35" y="18"/>
                      <a:pt x="35" y="23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5" y="26"/>
                      <a:pt x="35" y="27"/>
                      <a:pt x="35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4" y="26"/>
                      <a:pt x="14" y="25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17"/>
                      <a:pt x="14" y="13"/>
                      <a:pt x="15" y="11"/>
                    </a:cubicBezTo>
                    <a:moveTo>
                      <a:pt x="44" y="28"/>
                    </a:moveTo>
                    <a:cubicBezTo>
                      <a:pt x="44" y="27"/>
                      <a:pt x="44" y="26"/>
                      <a:pt x="44" y="25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16"/>
                      <a:pt x="44" y="10"/>
                      <a:pt x="39" y="5"/>
                    </a:cubicBezTo>
                    <a:cubicBezTo>
                      <a:pt x="36" y="2"/>
                      <a:pt x="31" y="0"/>
                      <a:pt x="24" y="0"/>
                    </a:cubicBezTo>
                    <a:cubicBezTo>
                      <a:pt x="17" y="0"/>
                      <a:pt x="12" y="2"/>
                      <a:pt x="9" y="5"/>
                    </a:cubicBezTo>
                    <a:cubicBezTo>
                      <a:pt x="5" y="9"/>
                      <a:pt x="5" y="16"/>
                      <a:pt x="5" y="22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5" y="26"/>
                      <a:pt x="5" y="27"/>
                      <a:pt x="5" y="27"/>
                    </a:cubicBezTo>
                    <a:cubicBezTo>
                      <a:pt x="2" y="28"/>
                      <a:pt x="0" y="30"/>
                      <a:pt x="0" y="3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4"/>
                      <a:pt x="2" y="66"/>
                      <a:pt x="5" y="66"/>
                    </a:cubicBezTo>
                    <a:cubicBezTo>
                      <a:pt x="43" y="66"/>
                      <a:pt x="43" y="66"/>
                      <a:pt x="43" y="66"/>
                    </a:cubicBezTo>
                    <a:cubicBezTo>
                      <a:pt x="46" y="66"/>
                      <a:pt x="48" y="64"/>
                      <a:pt x="48" y="6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0"/>
                      <a:pt x="46" y="28"/>
                      <a:pt x="44" y="2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89646" tIns="44823" rIns="89646" bIns="448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3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DB1CE3-0394-9740-8A41-10B36970DD93}"/>
              </a:ext>
            </a:extLst>
          </p:cNvPr>
          <p:cNvGrpSpPr/>
          <p:nvPr/>
        </p:nvGrpSpPr>
        <p:grpSpPr>
          <a:xfrm>
            <a:off x="378895" y="2491065"/>
            <a:ext cx="8514093" cy="4629556"/>
            <a:chOff x="3034190" y="2491065"/>
            <a:chExt cx="5858798" cy="4629556"/>
          </a:xfrm>
        </p:grpSpPr>
        <p:sp>
          <p:nvSpPr>
            <p:cNvPr id="23" name="TextBox 22"/>
            <p:cNvSpPr txBox="1"/>
            <p:nvPr/>
          </p:nvSpPr>
          <p:spPr>
            <a:xfrm>
              <a:off x="5366434" y="5752009"/>
              <a:ext cx="1897769" cy="1368612"/>
            </a:xfrm>
            <a:prstGeom prst="rect">
              <a:avLst/>
            </a:prstGeom>
            <a:noFill/>
          </p:spPr>
          <p:txBody>
            <a:bodyPr wrap="square" lIns="109712" tIns="109712" rIns="109712" bIns="109712" rtlCol="0">
              <a:spAutoFit/>
            </a:bodyPr>
            <a:lstStyle/>
            <a:p>
              <a:pPr marL="0" marR="0" lvl="0" indent="0" algn="l" defTabSz="10910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72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61" b="1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INFERENCING</a:t>
              </a:r>
              <a:br>
                <a:rPr kumimoji="0" lang="en-US" sz="1961" b="1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961" b="1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PUs, GPUS, FPGAs</a:t>
              </a:r>
              <a:br>
                <a:rPr kumimoji="0" lang="en-US" sz="1961" b="1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</a:b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350213" y="5720544"/>
              <a:ext cx="1816836" cy="825515"/>
            </a:xfrm>
            <a:prstGeom prst="rect">
              <a:avLst/>
            </a:prstGeom>
            <a:noFill/>
          </p:spPr>
          <p:txBody>
            <a:bodyPr wrap="square" lIns="109712" tIns="109712" rIns="109712" bIns="109712" rtlCol="0">
              <a:spAutoFit/>
            </a:bodyPr>
            <a:lstStyle/>
            <a:p>
              <a:pPr marL="0" marR="0" lvl="0" indent="0" algn="l" defTabSz="10910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72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61" b="1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TRAINING</a:t>
              </a: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  <a:b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961" b="1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PUs and GPUs</a:t>
              </a: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0F94C64-9AE2-D348-A200-D6BDF7A07948}"/>
                </a:ext>
              </a:extLst>
            </p:cNvPr>
            <p:cNvGrpSpPr/>
            <p:nvPr/>
          </p:nvGrpSpPr>
          <p:grpSpPr>
            <a:xfrm>
              <a:off x="3034190" y="2491065"/>
              <a:ext cx="5858798" cy="3247286"/>
              <a:chOff x="3034190" y="2491065"/>
              <a:chExt cx="5858798" cy="3247286"/>
            </a:xfrm>
          </p:grpSpPr>
          <p:sp>
            <p:nvSpPr>
              <p:cNvPr id="3" name="Rounded Rectangle 2">
                <a:extLst>
                  <a:ext uri="{FF2B5EF4-FFF2-40B4-BE49-F238E27FC236}">
                    <a16:creationId xmlns:a16="http://schemas.microsoft.com/office/drawing/2014/main" id="{ACF5135F-1115-F746-A98B-FDED127262E5}"/>
                  </a:ext>
                </a:extLst>
              </p:cNvPr>
              <p:cNvSpPr/>
              <p:nvPr/>
            </p:nvSpPr>
            <p:spPr>
              <a:xfrm>
                <a:off x="3034190" y="2491065"/>
                <a:ext cx="5858798" cy="3247286"/>
              </a:xfrm>
              <a:prstGeom prst="roundRect">
                <a:avLst/>
              </a:prstGeom>
              <a:noFill/>
              <a:ln w="76200"/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6B109D44-A217-164A-8BE6-B0183EBD1D12}"/>
                  </a:ext>
                </a:extLst>
              </p:cNvPr>
              <p:cNvSpPr txBox="1"/>
              <p:nvPr/>
            </p:nvSpPr>
            <p:spPr>
              <a:xfrm>
                <a:off x="3295085" y="2492376"/>
                <a:ext cx="104067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oud</a:t>
                </a:r>
              </a:p>
            </p:txBody>
          </p:sp>
        </p:grpSp>
      </p:grpSp>
      <p:sp>
        <p:nvSpPr>
          <p:cNvPr id="8" name="Right Arrow 7"/>
          <p:cNvSpPr/>
          <p:nvPr/>
        </p:nvSpPr>
        <p:spPr bwMode="auto">
          <a:xfrm>
            <a:off x="556787" y="4998646"/>
            <a:ext cx="10981203" cy="697859"/>
          </a:xfrm>
          <a:prstGeom prst="leftRightArrow">
            <a:avLst/>
          </a:prstGeom>
          <a:gradFill flip="none" rotWithShape="1">
            <a:gsLst>
              <a:gs pos="1250">
                <a:schemeClr val="tx1"/>
              </a:gs>
              <a:gs pos="100000">
                <a:schemeClr val="tx2"/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9425" tIns="175540" rIns="219425" bIns="1755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1187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79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1FAE119-CDE0-4E77-984D-BCA81B96E049}"/>
              </a:ext>
            </a:extLst>
          </p:cNvPr>
          <p:cNvGrpSpPr/>
          <p:nvPr/>
        </p:nvGrpSpPr>
        <p:grpSpPr>
          <a:xfrm>
            <a:off x="556787" y="1929839"/>
            <a:ext cx="11355315" cy="5059459"/>
            <a:chOff x="3208752" y="2468991"/>
            <a:chExt cx="8703350" cy="450475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0838873-8C4F-457E-9EEF-8BCB714BB27A}"/>
                </a:ext>
              </a:extLst>
            </p:cNvPr>
            <p:cNvGrpSpPr/>
            <p:nvPr/>
          </p:nvGrpSpPr>
          <p:grpSpPr>
            <a:xfrm>
              <a:off x="3208752" y="2468991"/>
              <a:ext cx="8703350" cy="4381868"/>
              <a:chOff x="3208752" y="2468991"/>
              <a:chExt cx="8703350" cy="4381868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8E2D7292-A0AA-2646-9193-F47A5DF089D8}"/>
                  </a:ext>
                </a:extLst>
              </p:cNvPr>
              <p:cNvGrpSpPr/>
              <p:nvPr/>
            </p:nvGrpSpPr>
            <p:grpSpPr>
              <a:xfrm>
                <a:off x="3208752" y="2468991"/>
                <a:ext cx="8703350" cy="3269360"/>
                <a:chOff x="3208752" y="2468991"/>
                <a:chExt cx="8703350" cy="3269360"/>
              </a:xfrm>
            </p:grpSpPr>
            <p:sp>
              <p:nvSpPr>
                <p:cNvPr id="328" name="Rounded Rectangle 327">
                  <a:extLst>
                    <a:ext uri="{FF2B5EF4-FFF2-40B4-BE49-F238E27FC236}">
                      <a16:creationId xmlns:a16="http://schemas.microsoft.com/office/drawing/2014/main" id="{33ABFE5D-D1EE-B749-97D5-941CE92407C7}"/>
                    </a:ext>
                  </a:extLst>
                </p:cNvPr>
                <p:cNvSpPr/>
                <p:nvPr/>
              </p:nvSpPr>
              <p:spPr>
                <a:xfrm>
                  <a:off x="3208752" y="2491065"/>
                  <a:ext cx="8703350" cy="3247286"/>
                </a:xfrm>
                <a:prstGeom prst="roundRect">
                  <a:avLst/>
                </a:prstGeom>
                <a:noFill/>
                <a:ln w="76200">
                  <a:solidFill>
                    <a:srgbClr val="FFC000"/>
                  </a:solidFill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D51CC818-8DDB-8349-AEC0-745BC6B580CC}"/>
                    </a:ext>
                  </a:extLst>
                </p:cNvPr>
                <p:cNvSpPr txBox="1"/>
                <p:nvPr/>
              </p:nvSpPr>
              <p:spPr>
                <a:xfrm>
                  <a:off x="10678055" y="2468991"/>
                  <a:ext cx="886589" cy="52322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C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Edge</a:t>
                  </a:r>
                </a:p>
              </p:txBody>
            </p:sp>
          </p:grpSp>
          <p:sp>
            <p:nvSpPr>
              <p:cNvPr id="329" name="TextBox 328">
                <a:extLst>
                  <a:ext uri="{FF2B5EF4-FFF2-40B4-BE49-F238E27FC236}">
                    <a16:creationId xmlns:a16="http://schemas.microsoft.com/office/drawing/2014/main" id="{DE1F3601-88AC-8C44-855E-7E8C2FA47068}"/>
                  </a:ext>
                </a:extLst>
              </p:cNvPr>
              <p:cNvSpPr txBox="1"/>
              <p:nvPr/>
            </p:nvSpPr>
            <p:spPr>
              <a:xfrm>
                <a:off x="9575928" y="5881395"/>
                <a:ext cx="1988716" cy="969464"/>
              </a:xfrm>
              <a:prstGeom prst="rect">
                <a:avLst/>
              </a:prstGeom>
              <a:noFill/>
            </p:spPr>
            <p:txBody>
              <a:bodyPr wrap="square" lIns="109712" tIns="109712" rIns="109712" bIns="109712" rtlCol="0">
                <a:spAutoFit/>
              </a:bodyPr>
              <a:lstStyle/>
              <a:p>
                <a:pPr marL="0" marR="0" lvl="0" indent="0" algn="l" defTabSz="1091054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72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INFERENCING</a:t>
                </a:r>
                <a:b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</a:b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CPUs, GPUS, FPGAs, ASICs</a:t>
                </a:r>
              </a:p>
            </p:txBody>
          </p:sp>
        </p:grpSp>
        <p:sp>
          <p:nvSpPr>
            <p:cNvPr id="330" name="TextBox 329">
              <a:extLst>
                <a:ext uri="{FF2B5EF4-FFF2-40B4-BE49-F238E27FC236}">
                  <a16:creationId xmlns:a16="http://schemas.microsoft.com/office/drawing/2014/main" id="{00AEA8CB-2192-3E4A-91C6-92266B4963FF}"/>
                </a:ext>
              </a:extLst>
            </p:cNvPr>
            <p:cNvSpPr txBox="1"/>
            <p:nvPr/>
          </p:nvSpPr>
          <p:spPr>
            <a:xfrm>
              <a:off x="7827176" y="5859111"/>
              <a:ext cx="2070589" cy="1114632"/>
            </a:xfrm>
            <a:prstGeom prst="rect">
              <a:avLst/>
            </a:prstGeom>
            <a:noFill/>
          </p:spPr>
          <p:txBody>
            <a:bodyPr wrap="square" lIns="109712" tIns="109712" rIns="109712" bIns="109712" rtlCol="0">
              <a:spAutoFit/>
            </a:bodyPr>
            <a:lstStyle/>
            <a:p>
              <a:pPr marL="0" marR="0" lvl="0" indent="0" algn="l" defTabSz="10910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72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TRAINING</a:t>
              </a: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</a:p>
            <a:p>
              <a:pPr marL="0" marR="0" lvl="0" indent="0" algn="l" defTabSz="10910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72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(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HEAVY EDGE)</a:t>
              </a:r>
              <a:b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PUs and GPUs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573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>
            <a:extLst>
              <a:ext uri="{FF2B5EF4-FFF2-40B4-BE49-F238E27FC236}">
                <a16:creationId xmlns:a16="http://schemas.microsoft.com/office/drawing/2014/main" id="{8DE18BB7-0980-F546-ACD9-E08F06620554}"/>
              </a:ext>
            </a:extLst>
          </p:cNvPr>
          <p:cNvSpPr txBox="1">
            <a:spLocks/>
          </p:cNvSpPr>
          <p:nvPr/>
        </p:nvSpPr>
        <p:spPr>
          <a:xfrm>
            <a:off x="700872" y="2239213"/>
            <a:ext cx="4578179" cy="13849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49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49" normalizeH="0" baseline="0" noProof="0" dirty="0">
                <a:ln w="3175">
                  <a:noFill/>
                </a:ln>
                <a:solidFill>
                  <a:srgbClr val="00214E"/>
                </a:solidFill>
                <a:effectLst/>
                <a:uLnTx/>
                <a:uFillTx/>
                <a:latin typeface="Segoe UI Semibold"/>
              </a:rPr>
              <a:t>Microsoft Learn</a:t>
            </a:r>
            <a:endParaRPr lang="en-US" sz="4000" noProof="0" dirty="0">
              <a:solidFill>
                <a:srgbClr val="00214E"/>
              </a:solidFill>
              <a:latin typeface="Segoe UI Semibold"/>
            </a:endParaRP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dirty="0">
                <a:solidFill>
                  <a:srgbClr val="00214E"/>
                </a:solidFill>
                <a:latin typeface="Segoe UI Semibold"/>
              </a:rPr>
              <a:t>Free, quick, and role-based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dirty="0">
                <a:solidFill>
                  <a:srgbClr val="00214E"/>
                </a:solidFill>
                <a:latin typeface="Segoe UI Semibold"/>
              </a:rPr>
              <a:t>hands-on trainings</a:t>
            </a:r>
            <a:endParaRPr kumimoji="0" lang="en-US" sz="2500" b="0" i="0" u="none" strike="noStrike" kern="1200" cap="none" spc="-49" normalizeH="0" baseline="0" noProof="0" dirty="0">
              <a:ln w="3175">
                <a:noFill/>
              </a:ln>
              <a:solidFill>
                <a:srgbClr val="00214E"/>
              </a:solidFill>
              <a:effectLst/>
              <a:uLnTx/>
              <a:uFillTx/>
              <a:latin typeface="Segoe UI Semibold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61C3447-692B-3F42-BD27-0B96BB172E41}"/>
              </a:ext>
            </a:extLst>
          </p:cNvPr>
          <p:cNvSpPr txBox="1">
            <a:spLocks/>
          </p:cNvSpPr>
          <p:nvPr/>
        </p:nvSpPr>
        <p:spPr>
          <a:xfrm>
            <a:off x="700849" y="3986219"/>
            <a:ext cx="3686796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61988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5663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  <a:hlinkClick r:id="rId3"/>
              </a:rPr>
              <a:t>aka.ms/</a:t>
            </a:r>
            <a:r>
              <a:rPr kumimoji="0" lang="en-US" sz="3000" b="0" i="0" u="none" strike="noStrike" kern="1200" cap="none" spc="0" normalizeH="0" baseline="0" noProof="0" dirty="0" err="1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  <a:hlinkClick r:id="rId3"/>
              </a:rPr>
              <a:t>mslearnevent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"/>
              <a:ea typeface="+mn-ea"/>
              <a:cs typeface="Segoe UI Semilight" panose="020B04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2A1B6C7-9C44-42EE-97FE-54CFFA8495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8292" y="1497868"/>
            <a:ext cx="6905265" cy="3730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75278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67F8243-D5B9-4F31-84CF-D94E9735A2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247" r="11804"/>
          <a:stretch/>
        </p:blipFill>
        <p:spPr>
          <a:xfrm>
            <a:off x="663262" y="1043187"/>
            <a:ext cx="6559109" cy="4559121"/>
          </a:xfrm>
          <a:prstGeom prst="rect">
            <a:avLst/>
          </a:prstGeom>
        </p:spPr>
      </p:pic>
      <p:sp>
        <p:nvSpPr>
          <p:cNvPr id="5" name="Title 7">
            <a:extLst>
              <a:ext uri="{FF2B5EF4-FFF2-40B4-BE49-F238E27FC236}">
                <a16:creationId xmlns:a16="http://schemas.microsoft.com/office/drawing/2014/main" id="{8DE18BB7-0980-F546-ACD9-E08F06620554}"/>
              </a:ext>
            </a:extLst>
          </p:cNvPr>
          <p:cNvSpPr txBox="1">
            <a:spLocks/>
          </p:cNvSpPr>
          <p:nvPr/>
        </p:nvSpPr>
        <p:spPr>
          <a:xfrm>
            <a:off x="7536547" y="2051215"/>
            <a:ext cx="4578179" cy="221599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49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214E"/>
                </a:solidFill>
                <a:latin typeface="Segoe UI Semibold"/>
              </a:rPr>
              <a:t>No-install,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214E"/>
                </a:solidFill>
                <a:latin typeface="Segoe UI Semibold"/>
              </a:rPr>
              <a:t>browser-based scripting environment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214E"/>
                </a:solidFill>
                <a:latin typeface="Segoe UI Semibold"/>
              </a:rPr>
              <a:t>to try Azure</a:t>
            </a:r>
            <a:endParaRPr lang="en-US" noProof="0" dirty="0">
              <a:solidFill>
                <a:srgbClr val="00214E"/>
              </a:solidFill>
              <a:latin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57626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>
            <a:extLst>
              <a:ext uri="{FF2B5EF4-FFF2-40B4-BE49-F238E27FC236}">
                <a16:creationId xmlns:a16="http://schemas.microsoft.com/office/drawing/2014/main" id="{8DE18BB7-0980-F546-ACD9-E08F06620554}"/>
              </a:ext>
            </a:extLst>
          </p:cNvPr>
          <p:cNvSpPr txBox="1">
            <a:spLocks/>
          </p:cNvSpPr>
          <p:nvPr/>
        </p:nvSpPr>
        <p:spPr>
          <a:xfrm>
            <a:off x="700872" y="2393102"/>
            <a:ext cx="4578179" cy="123110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49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49" normalizeH="0" baseline="0" noProof="0" dirty="0">
                <a:ln w="3175">
                  <a:noFill/>
                </a:ln>
                <a:solidFill>
                  <a:srgbClr val="00214E"/>
                </a:solidFill>
                <a:effectLst/>
                <a:uLnTx/>
                <a:uFillTx/>
                <a:latin typeface="Segoe UI Semibold"/>
              </a:rPr>
              <a:t>Level Up and Earn Achievements</a:t>
            </a:r>
            <a:endParaRPr lang="en-US" sz="4000" noProof="0" dirty="0">
              <a:solidFill>
                <a:srgbClr val="00214E"/>
              </a:solidFill>
              <a:latin typeface="Segoe UI Semibold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5" t="1680" r="1382" b="2803"/>
          <a:stretch/>
        </p:blipFill>
        <p:spPr>
          <a:xfrm>
            <a:off x="5344732" y="1049628"/>
            <a:ext cx="5698901" cy="4385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28763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8DE18BB7-0980-F546-ACD9-E08F06620554}"/>
              </a:ext>
            </a:extLst>
          </p:cNvPr>
          <p:cNvSpPr txBox="1">
            <a:spLocks/>
          </p:cNvSpPr>
          <p:nvPr/>
        </p:nvSpPr>
        <p:spPr>
          <a:xfrm>
            <a:off x="5878181" y="1669249"/>
            <a:ext cx="5643009" cy="338554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49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>
              <a:defRPr/>
            </a:pPr>
            <a:r>
              <a:rPr lang="en-US" sz="4400" dirty="0">
                <a:solidFill>
                  <a:srgbClr val="00214E"/>
                </a:solidFill>
                <a:latin typeface="Segoe UI Semibold"/>
              </a:rPr>
              <a:t>Create neural networks with </a:t>
            </a:r>
            <a:r>
              <a:rPr lang="en-US" sz="4400" dirty="0" err="1">
                <a:solidFill>
                  <a:srgbClr val="00214E"/>
                </a:solidFill>
                <a:latin typeface="Segoe UI Semibold"/>
              </a:rPr>
              <a:t>TensorFlow</a:t>
            </a:r>
            <a:r>
              <a:rPr lang="en-US" sz="4400" dirty="0">
                <a:solidFill>
                  <a:srgbClr val="00214E"/>
                </a:solidFill>
                <a:latin typeface="Segoe UI Semibold"/>
              </a:rPr>
              <a:t> on the Azure Data Science Virtual Machine</a:t>
            </a:r>
            <a:endParaRPr kumimoji="0" lang="en-US" sz="3600" b="0" i="0" u="none" strike="noStrike" kern="1200" cap="none" spc="-49" normalizeH="0" baseline="0" noProof="0" dirty="0">
              <a:ln w="3175">
                <a:noFill/>
              </a:ln>
              <a:solidFill>
                <a:srgbClr val="00214E"/>
              </a:solidFill>
              <a:effectLst/>
              <a:uLnTx/>
              <a:uFillTx/>
              <a:latin typeface="Segoe UI Semibold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7287" y="2390471"/>
            <a:ext cx="2080750" cy="208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15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8DE18BB7-0980-F546-ACD9-E08F06620554}"/>
              </a:ext>
            </a:extLst>
          </p:cNvPr>
          <p:cNvSpPr txBox="1">
            <a:spLocks/>
          </p:cNvSpPr>
          <p:nvPr/>
        </p:nvSpPr>
        <p:spPr>
          <a:xfrm>
            <a:off x="6099409" y="1399520"/>
            <a:ext cx="4910264" cy="406265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49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>
              <a:defRPr/>
            </a:pPr>
            <a:r>
              <a:rPr lang="en-US" sz="4400" dirty="0">
                <a:solidFill>
                  <a:srgbClr val="00214E"/>
                </a:solidFill>
                <a:latin typeface="Segoe UI Semibold"/>
              </a:rPr>
              <a:t>Interactive deep learning with </a:t>
            </a:r>
            <a:r>
              <a:rPr lang="en-US" sz="4400" dirty="0" err="1">
                <a:solidFill>
                  <a:srgbClr val="00214E"/>
                </a:solidFill>
                <a:latin typeface="Segoe UI Semibold"/>
              </a:rPr>
              <a:t>Jupyter</a:t>
            </a:r>
            <a:r>
              <a:rPr lang="en-US" sz="4400" dirty="0">
                <a:solidFill>
                  <a:srgbClr val="00214E"/>
                </a:solidFill>
                <a:latin typeface="Segoe UI Semibold"/>
              </a:rPr>
              <a:t>, Docker and </a:t>
            </a:r>
            <a:r>
              <a:rPr lang="en-US" sz="4400" dirty="0" err="1">
                <a:solidFill>
                  <a:srgbClr val="00214E"/>
                </a:solidFill>
                <a:latin typeface="Segoe UI Semibold"/>
              </a:rPr>
              <a:t>PyTorch</a:t>
            </a:r>
            <a:r>
              <a:rPr lang="en-US" sz="4400" dirty="0">
                <a:solidFill>
                  <a:srgbClr val="00214E"/>
                </a:solidFill>
                <a:latin typeface="Segoe UI Semibold"/>
              </a:rPr>
              <a:t> on the Data Science Virtual Machine</a:t>
            </a:r>
            <a:endParaRPr kumimoji="0" lang="en-US" sz="4400" b="0" i="0" u="none" strike="noStrike" kern="1200" cap="none" spc="-49" normalizeH="0" baseline="0" noProof="0" dirty="0">
              <a:ln w="3175">
                <a:noFill/>
              </a:ln>
              <a:solidFill>
                <a:srgbClr val="00214E"/>
              </a:solidFill>
              <a:effectLst/>
              <a:uLnTx/>
              <a:uFillTx/>
              <a:latin typeface="Segoe UI Semibold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7287" y="2390471"/>
            <a:ext cx="2080750" cy="208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46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8DE18BB7-0980-F546-ACD9-E08F06620554}"/>
              </a:ext>
            </a:extLst>
          </p:cNvPr>
          <p:cNvSpPr txBox="1">
            <a:spLocks/>
          </p:cNvSpPr>
          <p:nvPr/>
        </p:nvSpPr>
        <p:spPr>
          <a:xfrm>
            <a:off x="5819188" y="1378179"/>
            <a:ext cx="5643009" cy="435503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49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srgbClr val="00214E"/>
                </a:solidFill>
                <a:latin typeface="Segoe UI Semibold"/>
              </a:rPr>
              <a:t>Earn a badge on Microsoft Learn for a free gift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-49" normalizeH="0" baseline="0" noProof="0" dirty="0">
              <a:ln w="3175">
                <a:noFill/>
              </a:ln>
              <a:solidFill>
                <a:srgbClr val="00214E"/>
              </a:solidFill>
              <a:effectLst/>
              <a:uLnTx/>
              <a:uFillTx/>
              <a:latin typeface="Segoe UI Semibold"/>
              <a:ea typeface="+mn-ea"/>
              <a:cs typeface="Segoe UI Semilight" panose="020B04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dirty="0">
                <a:solidFill>
                  <a:srgbClr val="00214E"/>
                </a:solidFill>
                <a:latin typeface="Segoe UI Semibold"/>
              </a:rPr>
              <a:t>Come to our booth to learn more!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-49" normalizeH="0" baseline="0" noProof="0" dirty="0">
                <a:ln w="3175">
                  <a:noFill/>
                </a:ln>
                <a:solidFill>
                  <a:srgbClr val="00214E"/>
                </a:solidFill>
                <a:effectLst/>
                <a:uLnTx/>
                <a:uFillTx/>
                <a:latin typeface="Segoe UI Semibold"/>
                <a:hlinkClick r:id="rId3"/>
              </a:rPr>
              <a:t>aka.ms/</a:t>
            </a:r>
            <a:r>
              <a:rPr kumimoji="0" lang="en-US" sz="3000" b="0" i="0" u="none" strike="noStrike" kern="1200" cap="none" spc="-49" normalizeH="0" baseline="0" noProof="0" dirty="0" err="1">
                <a:ln w="3175">
                  <a:noFill/>
                </a:ln>
                <a:solidFill>
                  <a:srgbClr val="00214E"/>
                </a:solidFill>
                <a:effectLst/>
                <a:uLnTx/>
                <a:uFillTx/>
                <a:latin typeface="Segoe UI Semibold"/>
                <a:hlinkClick r:id="rId3"/>
              </a:rPr>
              <a:t>mslearnevent</a:t>
            </a:r>
            <a:endParaRPr kumimoji="0" lang="en-US" sz="3000" b="0" i="0" u="none" strike="noStrike" kern="1200" cap="none" spc="-49" normalizeH="0" baseline="0" noProof="0" dirty="0">
              <a:ln w="3175">
                <a:noFill/>
              </a:ln>
              <a:solidFill>
                <a:srgbClr val="00214E"/>
              </a:solidFill>
              <a:effectLst/>
              <a:uLnTx/>
              <a:uFillTx/>
              <a:latin typeface="Segoe UI Semibold"/>
            </a:endParaRP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-49" normalizeH="0" baseline="0" noProof="0" dirty="0">
              <a:ln w="3175">
                <a:noFill/>
              </a:ln>
              <a:solidFill>
                <a:srgbClr val="00214E"/>
              </a:solidFill>
              <a:effectLst/>
              <a:uLnTx/>
              <a:uFillTx/>
              <a:latin typeface="Segoe UI Semibold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467" y="1481210"/>
            <a:ext cx="3876808" cy="387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0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4919F-1D78-4F58-AC49-546FDB6190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ML SD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36FF0B-3962-4931-B508-A77AAD57E8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leased in public preview at Ignite 2018</a:t>
            </a:r>
          </a:p>
          <a:p>
            <a:pPr lvl="1"/>
            <a:r>
              <a:rPr lang="en-US" dirty="0"/>
              <a:t>GA = Dec 2018</a:t>
            </a:r>
          </a:p>
          <a:p>
            <a:r>
              <a:rPr lang="en-US" dirty="0"/>
              <a:t>Series of python packages</a:t>
            </a:r>
          </a:p>
          <a:p>
            <a:pPr lvl="1"/>
            <a:r>
              <a:rPr lang="en-US" dirty="0"/>
              <a:t>Main one is </a:t>
            </a:r>
            <a:r>
              <a:rPr lang="en-US" dirty="0" err="1"/>
              <a:t>azureml-sdk</a:t>
            </a:r>
            <a:endParaRPr lang="en-US" dirty="0"/>
          </a:p>
          <a:p>
            <a:pPr lvl="1"/>
            <a:r>
              <a:rPr lang="en-US" dirty="0"/>
              <a:t>Simple pip install</a:t>
            </a:r>
          </a:p>
          <a:p>
            <a:pPr lvl="1"/>
            <a:r>
              <a:rPr lang="en-US" dirty="0"/>
              <a:t>Extensions for </a:t>
            </a:r>
            <a:r>
              <a:rPr lang="en-US" dirty="0" err="1"/>
              <a:t>Jupyter</a:t>
            </a:r>
            <a:r>
              <a:rPr lang="en-US" dirty="0"/>
              <a:t> notebooks, </a:t>
            </a:r>
            <a:r>
              <a:rPr lang="en-US" dirty="0" err="1"/>
              <a:t>AutoML</a:t>
            </a:r>
            <a:r>
              <a:rPr lang="en-US" dirty="0"/>
              <a:t>, </a:t>
            </a:r>
            <a:r>
              <a:rPr lang="en-US" dirty="0" err="1"/>
              <a:t>hyperparam</a:t>
            </a:r>
            <a:r>
              <a:rPr lang="en-US" dirty="0"/>
              <a:t> tuning </a:t>
            </a:r>
            <a:r>
              <a:rPr lang="en-US" dirty="0" err="1"/>
              <a:t>etc</a:t>
            </a:r>
            <a:endParaRPr lang="en-US" dirty="0"/>
          </a:p>
          <a:p>
            <a:r>
              <a:rPr lang="en-US" dirty="0"/>
              <a:t>Can do everything through code including -</a:t>
            </a:r>
          </a:p>
          <a:p>
            <a:pPr lvl="1"/>
            <a:r>
              <a:rPr lang="en-US" dirty="0"/>
              <a:t>Resource provisioning and management</a:t>
            </a:r>
          </a:p>
          <a:p>
            <a:pPr lvl="2"/>
            <a:r>
              <a:rPr lang="en-US" dirty="0"/>
              <a:t>Great for automation / one button deployment</a:t>
            </a:r>
          </a:p>
          <a:p>
            <a:pPr lvl="1"/>
            <a:r>
              <a:rPr lang="en-US" dirty="0"/>
              <a:t>Experimentation, model registry, deployment </a:t>
            </a:r>
            <a:r>
              <a:rPr lang="en-US" dirty="0" err="1"/>
              <a:t>et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26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6E08F-1F56-4B3C-AD3F-7EC83D617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concept</a:t>
            </a:r>
            <a:r>
              <a:rPr lang="en-US"/>
              <a:t>: Workspace</a:t>
            </a:r>
            <a:endParaRPr lang="en-US" dirty="0"/>
          </a:p>
        </p:txBody>
      </p:sp>
      <p:pic>
        <p:nvPicPr>
          <p:cNvPr id="4" name="Picture 2" descr="https://docs.microsoft.com/en-us/azure/machine-learning/service/media/concept-azure-machine-learning-architecture/taxonomy.png#lightbox">
            <a:extLst>
              <a:ext uri="{FF2B5EF4-FFF2-40B4-BE49-F238E27FC236}">
                <a16:creationId xmlns:a16="http://schemas.microsoft.com/office/drawing/2014/main" id="{8C9323F4-680F-4BE4-8C2A-C6D735E279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08" y="1906587"/>
            <a:ext cx="11298983" cy="453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D0D8FC6-51BE-4E20-BC0D-69C43D2BE759}"/>
              </a:ext>
            </a:extLst>
          </p:cNvPr>
          <p:cNvSpPr/>
          <p:nvPr/>
        </p:nvSpPr>
        <p:spPr>
          <a:xfrm>
            <a:off x="474905" y="4449926"/>
            <a:ext cx="1224868" cy="1437948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7BA8E5-5EB9-4B4E-BC1B-EBCC900578FE}"/>
              </a:ext>
            </a:extLst>
          </p:cNvPr>
          <p:cNvSpPr/>
          <p:nvPr/>
        </p:nvSpPr>
        <p:spPr>
          <a:xfrm>
            <a:off x="1675055" y="4961065"/>
            <a:ext cx="1224868" cy="1164970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315E080-1656-43A3-98E3-3C57AA6A1665}"/>
              </a:ext>
            </a:extLst>
          </p:cNvPr>
          <p:cNvSpPr/>
          <p:nvPr/>
        </p:nvSpPr>
        <p:spPr>
          <a:xfrm>
            <a:off x="4311650" y="3467100"/>
            <a:ext cx="4654550" cy="2266950"/>
          </a:xfrm>
          <a:custGeom>
            <a:avLst/>
            <a:gdLst>
              <a:gd name="connsiteX0" fmla="*/ 19050 w 4654550"/>
              <a:gd name="connsiteY0" fmla="*/ 0 h 2266950"/>
              <a:gd name="connsiteX1" fmla="*/ 0 w 4654550"/>
              <a:gd name="connsiteY1" fmla="*/ 2235200 h 2266950"/>
              <a:gd name="connsiteX2" fmla="*/ 4654550 w 4654550"/>
              <a:gd name="connsiteY2" fmla="*/ 2266950 h 2266950"/>
              <a:gd name="connsiteX3" fmla="*/ 4654550 w 4654550"/>
              <a:gd name="connsiteY3" fmla="*/ 1352550 h 2266950"/>
              <a:gd name="connsiteX4" fmla="*/ 1295400 w 4654550"/>
              <a:gd name="connsiteY4" fmla="*/ 1352550 h 2266950"/>
              <a:gd name="connsiteX5" fmla="*/ 1295400 w 4654550"/>
              <a:gd name="connsiteY5" fmla="*/ 6350 h 2266950"/>
              <a:gd name="connsiteX6" fmla="*/ 19050 w 4654550"/>
              <a:gd name="connsiteY6" fmla="*/ 0 h 2266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4550" h="2266950">
                <a:moveTo>
                  <a:pt x="19050" y="0"/>
                </a:moveTo>
                <a:lnTo>
                  <a:pt x="0" y="2235200"/>
                </a:lnTo>
                <a:lnTo>
                  <a:pt x="4654550" y="2266950"/>
                </a:lnTo>
                <a:lnTo>
                  <a:pt x="4654550" y="1352550"/>
                </a:lnTo>
                <a:lnTo>
                  <a:pt x="1295400" y="1352550"/>
                </a:lnTo>
                <a:lnTo>
                  <a:pt x="1295400" y="6350"/>
                </a:lnTo>
                <a:lnTo>
                  <a:pt x="19050" y="0"/>
                </a:lnTo>
                <a:close/>
              </a:path>
            </a:pathLst>
          </a:cu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787F744-FF5A-4743-BBE8-BB8BA17E7888}"/>
              </a:ext>
            </a:extLst>
          </p:cNvPr>
          <p:cNvSpPr/>
          <p:nvPr/>
        </p:nvSpPr>
        <p:spPr>
          <a:xfrm>
            <a:off x="6800850" y="3486150"/>
            <a:ext cx="5041900" cy="2736850"/>
          </a:xfrm>
          <a:custGeom>
            <a:avLst/>
            <a:gdLst>
              <a:gd name="connsiteX0" fmla="*/ 0 w 5041900"/>
              <a:gd name="connsiteY0" fmla="*/ 0 h 2736850"/>
              <a:gd name="connsiteX1" fmla="*/ 25400 w 5041900"/>
              <a:gd name="connsiteY1" fmla="*/ 787400 h 2736850"/>
              <a:gd name="connsiteX2" fmla="*/ 2349500 w 5041900"/>
              <a:gd name="connsiteY2" fmla="*/ 800100 h 2736850"/>
              <a:gd name="connsiteX3" fmla="*/ 2336800 w 5041900"/>
              <a:gd name="connsiteY3" fmla="*/ 2736850 h 2736850"/>
              <a:gd name="connsiteX4" fmla="*/ 5041900 w 5041900"/>
              <a:gd name="connsiteY4" fmla="*/ 2730500 h 2736850"/>
              <a:gd name="connsiteX5" fmla="*/ 4984750 w 5041900"/>
              <a:gd name="connsiteY5" fmla="*/ 12700 h 2736850"/>
              <a:gd name="connsiteX6" fmla="*/ 12700 w 5041900"/>
              <a:gd name="connsiteY6" fmla="*/ 6350 h 2736850"/>
              <a:gd name="connsiteX7" fmla="*/ 0 w 5041900"/>
              <a:gd name="connsiteY7" fmla="*/ 0 h 273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41900" h="2736850">
                <a:moveTo>
                  <a:pt x="0" y="0"/>
                </a:moveTo>
                <a:lnTo>
                  <a:pt x="25400" y="787400"/>
                </a:lnTo>
                <a:lnTo>
                  <a:pt x="2349500" y="800100"/>
                </a:lnTo>
                <a:cubicBezTo>
                  <a:pt x="2345267" y="1445683"/>
                  <a:pt x="2341033" y="2091267"/>
                  <a:pt x="2336800" y="2736850"/>
                </a:cubicBezTo>
                <a:lnTo>
                  <a:pt x="5041900" y="2730500"/>
                </a:lnTo>
                <a:lnTo>
                  <a:pt x="4984750" y="12700"/>
                </a:lnTo>
                <a:lnTo>
                  <a:pt x="12700" y="6350"/>
                </a:lnTo>
                <a:lnTo>
                  <a:pt x="0" y="0"/>
                </a:lnTo>
                <a:close/>
              </a:path>
            </a:pathLst>
          </a:cu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75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174B3-FB7D-234A-B060-7B931DDB92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989" y="365125"/>
            <a:ext cx="11058811" cy="738369"/>
          </a:xfrm>
        </p:spPr>
        <p:txBody>
          <a:bodyPr/>
          <a:lstStyle/>
          <a:p>
            <a:r>
              <a:rPr lang="en-US" dirty="0"/>
              <a:t>Azure ML Feat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B4A27A-A078-4770-A544-006B3BB5A72A}"/>
              </a:ext>
            </a:extLst>
          </p:cNvPr>
          <p:cNvSpPr txBox="1"/>
          <p:nvPr/>
        </p:nvSpPr>
        <p:spPr>
          <a:xfrm>
            <a:off x="7183047" y="1550356"/>
            <a:ext cx="44755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ed Machine Learning</a:t>
            </a:r>
          </a:p>
        </p:txBody>
      </p:sp>
      <p:pic>
        <p:nvPicPr>
          <p:cNvPr id="6" name="picture">
            <a:extLst>
              <a:ext uri="{FF2B5EF4-FFF2-40B4-BE49-F238E27FC236}">
                <a16:creationId xmlns:a16="http://schemas.microsoft.com/office/drawing/2014/main" id="{14E56D4C-1B8B-4D9B-A052-7941A84DB023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6" y="1263975"/>
            <a:ext cx="5951666" cy="14960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12A2468-CCE0-4868-B4A5-FECC16913BB7}"/>
              </a:ext>
            </a:extLst>
          </p:cNvPr>
          <p:cNvSpPr/>
          <p:nvPr/>
        </p:nvSpPr>
        <p:spPr>
          <a:xfrm>
            <a:off x="182125" y="3156770"/>
            <a:ext cx="606348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ould I transform input data, and if so, how – by removing nulls, rescaling, or something else?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ML algorithm would be best – an SVM, logistic regression, or a tree-based classifier?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parameter values to choose – e.g., what the max depth and min split count should be for a tree-based classifier?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this process repeats …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2D134A0-CF81-49CB-AC03-C6C07553A459}"/>
              </a:ext>
            </a:extLst>
          </p:cNvPr>
          <p:cNvSpPr/>
          <p:nvPr/>
        </p:nvSpPr>
        <p:spPr>
          <a:xfrm>
            <a:off x="294989" y="5801907"/>
            <a:ext cx="5937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a series of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sequenti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,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interconnected decision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D35B303-6CA1-46F2-9412-7D964EEB9460}"/>
              </a:ext>
            </a:extLst>
          </p:cNvPr>
          <p:cNvCxnSpPr>
            <a:cxnSpLocks/>
          </p:cNvCxnSpPr>
          <p:nvPr/>
        </p:nvCxnSpPr>
        <p:spPr>
          <a:xfrm>
            <a:off x="6163967" y="2087217"/>
            <a:ext cx="0" cy="41148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2" name="Picture 2" descr="https://docs.microsoft.com/en-us/azure/machine-learning/service/media/how-to-automated-ml/automated-machine-learning.png#lightbox">
            <a:extLst>
              <a:ext uri="{FF2B5EF4-FFF2-40B4-BE49-F238E27FC236}">
                <a16:creationId xmlns:a16="http://schemas.microsoft.com/office/drawing/2014/main" id="{7B728841-5C4A-44FB-8FBC-FC8D38A6F8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960" y="2715986"/>
            <a:ext cx="5987704" cy="201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0464894"/>
      </p:ext>
    </p:extLst>
  </p:cSld>
  <p:clrMapOvr>
    <a:masterClrMapping/>
  </p:clrMapOvr>
  <p:transition advTm="5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01341-2D9E-4F74-BE29-C6FAC3059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365"/>
            <a:ext cx="10515600" cy="1325563"/>
          </a:xfrm>
        </p:spPr>
        <p:txBody>
          <a:bodyPr/>
          <a:lstStyle/>
          <a:p>
            <a:r>
              <a:rPr lang="en-US" b="1" dirty="0"/>
              <a:t>Hyperparame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DB25E6-A9E0-43BA-A215-1ECE5EAEA2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Adjustable parameters chosen prior to training a model, that govern the training process</a:t>
            </a:r>
          </a:p>
          <a:p>
            <a:pPr marL="0" indent="0">
              <a:buNone/>
            </a:pPr>
            <a:r>
              <a:rPr lang="en-US"/>
              <a:t>   e.g. number / size of hidden layers, learning rate, batch size, </a:t>
            </a:r>
            <a:r>
              <a:rPr lang="en-US" err="1"/>
              <a:t>etc</a:t>
            </a:r>
            <a:r>
              <a:rPr lang="en-US"/>
              <a:t> </a:t>
            </a:r>
          </a:p>
          <a:p>
            <a:r>
              <a:rPr lang="en-US"/>
              <a:t>ML / DL model performance depends heavily on hyperparameter sel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C9D1AD-8D4F-40A4-AFA2-CADBD61372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040" y="6152759"/>
            <a:ext cx="1530099" cy="685802"/>
          </a:xfrm>
          <a:prstGeom prst="rect">
            <a:avLst/>
          </a:prstGeom>
        </p:spPr>
      </p:pic>
      <p:sp>
        <p:nvSpPr>
          <p:cNvPr id="6" name="AutoShape 2" descr="data:image/jpg;base64,%20/9j/4AAQSkZJRgABAQEAYABgAAD/2wBDAAUDBAQEAwUEBAQFBQUGBwwIBwcHBw8LCwkMEQ8SEhEPERETFhwXExQaFRERGCEYGh0dHx8fExciJCIeJBweHx7/2wBDAQUFBQcGBw4ICA4eFBEUHh4eHh4eHh4eHh4eHh4eHh4eHh4eHh4eHh4eHh4eHh4eHh4eHh4eHh4eHh4eHh4eHh7/wAARCAFvAm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MrxhrUHhvwnq/iG6UtBpllNeSKOpWNCxH6V414btvE3iL9nyT4jXHiHUYfGF7YTaxazxXTrBbAbnigWHPlmPYFUhlJOSSc9PWviVocnib4eeIvDsTbZdS0y4tYz6M8bKp/MivJ/Afiaz0r9j0SXxeC80nRZtJubVhiZLxA0Ih29d5bbgdTuGOtAHpvwh8Wjx38M9A8W+SsL6lZrJNGpyElGVkA9gytj2rzPxh480XT/jxrHhv4la1caDoMel282hFrqS2t7piCZ3MiEEyBvlAJxheBk89B8F20v4X/CXwB4O8VahBpusX8Qhgtpm+aS5cmRoxjjILhfTOPWsvWtP0n4ifGfxV4E+IWnWlxpthp1tLoNtKgVpElU+fcxv97erjZlT8u3pySQDoP2ctW13WvA13f6s9/LYPqt0NDmv1IuZtP3/uGkzyTjoTyRg+9el15h+zxqOsT6N4g0TUNSl1mx0HWZtN0vVZeXu7dAuNzDh2Qkxlh1K16fQAUVk+ILC81J7e3tNa1TSAAztLZJAd2MAKxljcDqSMDseeObwt5AQftlweVOMJzjqPu9+/6YoAsUVW+zS7Nv2+5ztK7sJnJOd33eo6emO2eaf5Em/d9qnxvLbcLjGMbenTv65744oAmoquLeXaB9uuCdqjOEycHk/d6nof0xQbeQg/6bcDO/oE43dP4f4e365oAsUVB5Em/d9snxuU4wmMAYI+70PU9/THSm/ZZdm37fc52bd2EznOd33evb0x2zzQBZoqnbxzyb2e6ulxLJhWRBx0AHHQdQep7+lSC3kGP9NuDjZ1Cc7ev8P8Xf8ATFAFiiq5t5dpH264B2sM4TIyeD93qOg/XNO8mTfu+1TY3htuFxjGNvTp39c98cUATUVW+zS7Nv2+5ztC7sJnIOc/d6np6Y7Z5pTbyZJ+2XA5Y4wnGeg+727frmgCxRVcW8gI/wBMuDgqcYTnHX+Hv3/TFRXcNxHasY7y7L7SoKJGzZLfextxkDj0x2JoAu0VD5Mm/d9qmxvLbcLjGMbenTv65744potpdoH264J2qM4TJwck/d6nof0xQBYoqubeQ5/024Gd/QJxu6fw/wAPb9c0ot5Nwb7ZPjcpxhMYAwR93oep/TFAE9FVvssuzb9vuc7Nu7CZznO77vXt6Y7Z5p3kSb932yfG5mxhMYIwB93oOo75656UAT0VXFvIAP8ATbg4Cdk529f4f4u/6YqFYLg3cyG+vAnlDaSke0Fi3IO3JI4GDxjHXJoAvUVD5Mm/d9qmxvDbcLjAGNvToevrnvjimfZpdm37fc52hd2EzkHO77vU9PTHbPNAFmioDbyZJ+2XA5Y4wnGRwPu9u365pBbyAj/Tbg4KdQnOOv8AD37/AKYoAsUVWNtLsK/brnO1l3YTOScg/d6joO2OuTzT/Jk37vtU2N+7bhcYxjb06d/XPfHFAE1FVxbShQPt1yTtUZwmSQck/d6nof0xUNnBcNZQtJfXm8xksXSNWyw7gLgFe365oAvUVALeTcD9snI3KcYTHAwR93oep/TFN+yy7Nv2+5zsK7sJnOc7vu9e3pjtnmgCzRUHkSb932ufG4ttwmMEYx93oOo7565HFILeTA/024OAgzhOdvX+H+Lv+mKALFFVzbykEfbbgZDjOE4yeD93t2/XNO8iTfu+1z43htuFxgDG37vQ9fXPfHFAE1FULi3uF8hUv73lgrMqRngZOTleM8Dj2471YNvJuJ+2XA5Y4wnccD7vbt+uaAJ6Kri3kBH+m3Bxs6hOdvX+H+Lv+mKDbS7Cv265B2sucJnJOQfu9R0HbHXPWgCxRUPkyb932qbG/dtwuMYxt6dO/rnvjimi2l2Bft1yTtVc4TOQck/d6noe3pjrQBYoqubeQ5/024Gd/QJxu6fw/wAPb9c0ot5NwP2ycjcpxhOw5H3eh6n9MUAT0VQit7kzTo1/e7QoVSUjAyedwO3k9uePbvVjyJN+77XPjcW24XGCMY+70HX1z3xxQBPRVcW8mAPttwcBBnCc46n7v8Xf9MUG3kwR9tuBkOM4Tjd0P3f4e365oAsUVB5Em/d9rnxuDbcLjAGMfd6Hr657gcU37LLs2/b7nOwLuwmc5zu+717emO2eaALNFQG3k3E/bJwNzHGExyOB93oOo/XNQXkFwtnK0d9ebxGCuxI2bKjsCuCW7/pigC9RVc20pUr9uuQdrDOEyCTkH7vUdB+uetO8mTfu+1TY37tuFxjGNvTOO/rnvjigCaiq4tpdgX7dc52qu7CZyDkn7vU9D2x0x1oNvISf9NuBkv0Ccbun8P8AD2/XNAFiioBbybgftlweVOMJzgcj7vfv+mKb9ml2bft9znYV3YTOSc7vu9R09Mds80AWaKh8iTfu+1z43ltuFxgjG37vQdfXPfHFRRxzR30QNzcyx+SQwZE2bgV+YkAEMcngcdeBigC3RRRQAUUUUAFFFFABRRRQAUUUUAFZsugaDLqy6xJommvqSkFbtrVDMCBgfPjd0960qKAKt9punX09rcXun2l1NaSebbSTQq7QPjG5CRlTjuKh1nQ9F1pY11jSNP1EREmMXdskoQ+24HFaFFAEVpbW9nbR2tpbxW8EahY4okCqg9ABwBUtFFAFaTb/AGnBnZu8mTGQd2NyZx2x0znnpjvVmoH3fb4RltvlPkbwBnKdV6k+/bn1FT0AFFFFABRRRQAUVVvdS0+xZVvb+1tmcZUTTKhI9smsTVPHvg/TZDDca/ZtONuIYX82RsnACqmSx9hQY1MRSp/HJL1Zuabt8qXZ5ePPkzsBxnec5z39e3pVmuEsPG2o6jJOvhvwjrGqwRyuHuLmRbVc7uiebgnGemBjpzVmXxF44MbCL4eSCTB2F9Wt9oPbODnFOxh9fov4bv0jJr70rHZUVx8s/wATHjZI9N8LQuwwJDezOE99vljP0yPrUF9pPjaaGaXVPHdnpdsse0tY6eiDBzlmaVmKnpggiiwPGO3u05P5Jfm0dvRXkhX4XzGSTU/H17qchUKslzrTgxgZ6bCo755BrOvfEXw5sDHE3xd8SSgrx9n1HzQAOOSsZxVRpyl8KuYRzGTV0oteU1+P/Ds9sqrqu37C+/y9uV++CR94enNeIT+LPBcyvHpnjrx3qxEbNILe9RAgHr5gXr7ZrDi8ZeF4Qkml3mo6XujAkEHjGLMnoW8zdg/TH0raGDrz+GDfyYRx1ef8Oi5LyvL/ANJi1+KPpWivm1Nd026VJtU8ZaDft5fyRXvi25/ck4J/1Ua5PGDyR/OkS18G3bK158XdLsMIPk0+7mILd8mWVvwxj6Vf9n4r/n3L/wABZp7bMZfBhJP1uvzjb8T6Tor59bUPD8CR2tl8avEV+FjP7vTreS68tFwPm8sNtHI61ky2fgFUhMHxd1q9aVdwjsoZbh1GByypkr1HUCh5fikrunL7maS/tTTlwcn80fSss0MWPNlSPPTcwGacjK6hkYMp6EHINfMJs/DZuk+wap4x8Sy7Gyj+HhMIRlecXO0DJxyuTxzV2zfQ4ILRfDGp/EoapsYXNtaacQYV7jYSsajOOEZhWf1ad7dVvqtPXt8yowzZ6ywjS/xL+vvsfSVVotv9p3GPL3eVHnAO7GXxntjrjHvntXz9qfivXtQjSMePPFFpEMMEbwvNHMpxgq7RLg4OehIqtoHi/wAQz30tjrur+Nr6ztYN8cmk2TQSEbsAuZUViTn1P1OOB4Sur3pyVuri0vvasZ18Ri6GtTDTUe7tZerTdl5n0nRXgd5rWiyWkE91b/EzV13nNjcySKV4IDMU2j8nPXp1qG11Xw7c3kEdtoPj3w7JvJ+3rJcS+WNp4Kl3yD04UnntXBKva9ot28v87fft5kLHNrmvC3/XyN/u1/M+gqK+dtS1zwbpq3El/YeN9QMUh828lW5j80k8N/rkHPb5QenFSaZ4l+FF8sKLe63FdSD/AI9WTUnlU+hEcjAnAzwTWkFiqivDDzfoo/lzXNqFTEYj+Eot9uZ3+7k/Hbsz6BE8LS+Us0Zk/uhhn8qR7q2Rir3ESsOoLgEV4h9r+EsYhjuD/ZjGRit9d2F9aOzkMSGuH2k5GeC3P4VWi1/4S298lvNpUE1nPKUTWbzTpJoJX9BK7mRhx97GzjrWnscb/wBAtT7l/wDJHS8LmMVeVOKXrL/5A92+2Wn/AD9Qf9/BWfDrGjafodtcXeqada2wiQeY04SMZAwAWP5Z5rzUj4PmJZEm8O3DuwCRWdgszsScAKigsf1pNJm+GFqLS6+xxaa+F2z3OiMiISO8rx7fxJ5ri+s1f+fEv/JP/kzz5Y3lfK6lNP8AxP8A+RPQ/wDhNvBv/Q2aF/4MIv8A4qj/AITbwb/0Nmhf+DCL/wCKrmP7d+HLcP4l0Hb32wwqfz21m33jj4RWd09vNrdsXTGSlpvU8diI8GnGtiJu0KD++P6NgsV/0+p/j/md7beMPCdzcR29v4n0aaaRgqRpfRszE9AADya1Ptlp/wA/UH/fwV5lD4g+EOuac6vrOmvbs21knjWMtjB6FAcdOfarWjeHfg/qQIsYdAvDvCDEi53HoAOM01UxHNaVK3q0OOLbdo1ISfrb8NTsr7xV4ZsLlra+8RaTbTqATHNeRowB6cE5qD/hNfBv/Q2aF/4MIv8A4qub1JPhT4WZ7K4h0m3mBDG2iQySkk4+4uWJ46YrOtPFHwr1C3kl0fS5dWZSFEdnpcrlmPRclQoP1IpuWL1caat/if8A8gKWL5b81WCa6b2/FfkdbeeMvBzSWx/4SnQG2zZ+a+Q4+VuRhuD9eP0qx/wmvg3/AKGzQv8AwYRf/FVwN/4m8E2t19muPBOo208ZDSxSw2yOqkHGVaTOD+H1qpN46+HJjP2Xwuskx4RZZrSNCfdvNO0e+KTljEr+yj/4G/8A5Al4xpX51/4BL/M768+Ingm1lETeIrSZiu7NtunAHuYwwB46HmoT8TfA4BJ1sgDqTaTf/EV5ve/Fvwb4buPs9xpuhabLMgfbF4ltRvXJAJ2Nj161Afj54HkBjZtIcN8pU+J4TnPbGeaXPi/+fcf/AAN//IC+tVH9v/ylU/8Akj1W7+Ivgm2kWNvEVpMSob/Rt04A9zGCAeOh5qH/AIWZ4I/6DR/8BJv/AIivOdC+MPgGOSeO38P3inarMdEYXa/xY3mIgKeDgH3rTg+Nfw1YXi3Da3ZTWqBmhuY3SRyRkADdwcc/Nge9UvrzfL7JX/xP/wCQH9Zn1qJetOS/OSOyHxH8P3EpTS7fWdWCqDI1jpk0gjznAb5Rjoad/wAJ7a/9Cz4u/wDBLN/hXn/hv45+AdTm8rVLXWNG3gyQyXAlKSR9nB4JBPQgEH1rbuvi18LbdFb+1dRmDHH7i0u5cfXapxSbxyV/ZRt/if8A8gJYqH2sQk/OPL+EpXN6Dx1ZreXLjw14py23O3RZ93T+Lj8qn/4T21/6Fnxd/wCCWb/CuKuvi94MaCeXRLPWdXlUBhBiS3YKMAnEm1up7A5welc54k+P+g2Udq2h+EdT1hpFP2hX1RLYxHjGNzHeDzzx06c1UY5hJcyoq3+J/wDyAfWYcyX1ha9eXTz1vbTrqesf8J7a/wDQs+Lv/BLN/hR/wntr/wBCz4u/8Es3+FeN6l8e7zT44pLj4YzMJOnleLLaQj67WOPx96qf8NFz8bfhPqrD/Z8QRH+VJPHNXVJf+BP/AOQCWKpRV5YqK+S/+SPa08c3SeXJe+CfFFvBKpaN0tBMx6cMiEsnB/iAoHji8hWKXUPBHiW1t5RlXWBZmBxkApGxZfxAx0rwrT/jl4qvIJLiTw/4S05VbHl3WsXzuAfUwwuuR0PPXpUy/F3xHqF1FCdS8BaLGNxedodT1InjhREY4gP97d+Faxw+ZyV40F/4FL/5AX1mit8Uvmo/jr/ke3J48uE8uW88F+Jre3lUmKRbUTMemAyISycH+ICob/xjqtxpVzJD4C1yS3aJ9rTGGPcvIyyFw4HtjNeEXvxl8XJ9mtzN4EhCK4nu7XTbu5MrDG0+TL5IjB+Y8O+OnvVW7+Mfiv7Oxi8Q+G4n2nY0fhiVDnHqLv8Aoa2jl2cSV44dffL/AORHDEUqklGOJbv2im7/ACv9259FyeM9StmRr/wL4jggZtpkijjuCpwSPkidmxx1ximr45ul2TXHgnxRFZyMypMtoJHOM4JiUmRc4/iArwCHx5488QQx+R4pvLWzWU+ZdaF4TaWYkKfkzNcSR4yVJ4zx1qrrera+lulxq3jr4rXVlCxaVYdNttIK8YDGeNW4yfukYP4U44HNHPllQS/7ef8A8iTPFU43/wBof/gK/T/h/M+jP+E9tf8AoWfF3/glm/wpG8cyTOkWn+DvFNzMxOVksDbqAB13ylV/DOa+YLDxJp9/eJZ2fiv4uyzvnag8WRDOBk8mHHQUieJbF3hUeJvjEBNIYonPihAkjggFQxhwSCRn0zXZ/Y2a/wDPj/yb/gG0XWmtJytvpSlt9zPp4eOLxiLdfA/ig3u8q0JtQEAGefOLeWRx/e74pLrxb4jWIeV4FvoWLAb72+t4YVHqzKzEfka8Ij8N6TBZi61r4d/EbVJZWLvqN/4ruEeYtyMmN0Tp0wo4HfrWaPDthfXjR2/wZv8AVoEfzFtrvxJe3alQeC8TSsjduoxmpWX12tlf/Ev8zjljYRfLKtK/lD/OLPoL/hLPFn/QuaB/4UK//GqXwn4y/trxrLoV4PDsOo2do8sltZ60l3cxgtF96NVBRSGU5PquOtfP0ejeHTf/AGGb4A+D7WcEhhdXSQhDjOGLkbfxr1P4DW8dj4iurKy+HGi+GbJLaRheaZKk0czlo8pvXIPHJAPGORWdXAYylHmnGNv8XTyVtTpo1U5J89RrzhZffyr8z2eiiiuY9QKKKKACiiigAooooAKKKKAMvxdrVv4c8K6t4gugWg0yymu5AOpWNCxH6V434cj8VeIf2fpfiRN4j1KDxdeWM2sWjxXTra26jc8UAgz5bR7AoO5SSSTnPT1f4l6HJ4m+HfiPw9C22XUtLuLWM+jvGyr+pFeU+AvE1lpf7Haz3zNBc6Toc2l3Nu4xLHdxhofJK9d5fGB1ORjrQB6d8I/Fq+OvhroHi1YVhbUrNZZY1OQkg+V1HsGDAVzHiD4T3HiLX9R1zWfiF4zsWuJcw2mkazLaWtvCoCqoRf4sDLN3JNQ/BI6b8M/hF4B8I+KtQt9M1e/hEMFtO+HkuJCZGiHuN4X649a2fj9rl1onww1GPTWI1bVmj0nTQBkm4uWEakD/AGQzP9FNAGF+y9Z3Q8HarrMmua7q1hqWr3DaU+rX8l1KtnG3lRnc543FGfj+8K9arL8JaLa+G/C2l+H7FQttp1pFaxD/AGUULn9K1KAIJB/xMITj/llJz5We6fxdvp3/AOA1PWJ4h0271HULNbTxFqGjNHFKT9j8hmlBMfVZopAQPUYIz3zxqCCXIP22c8qcYTnHUfd79/0xQBPRVf7PNs2/b7nO0ru2x5yTnd93qOnpjsTzXA+OPHk9l4qtfB/hYnU/EFzJmVWAMFijLgGQquePvbeuASSBgG4U5TvyrbUmpNQhKb2X9fi9F3eh1XjjxNYeE9Am1W+KsVISKHzFQyuxwFy3AHcnsAT2rye38Va94quplhu/EOsxoQs8XhaOOG0h2kEp9qlIMjHI5jI4BwSDmusi+EOi31yuoeLNT1PxFf5DM91LiEYbOBGBjaRgEHI4yMGrNx4oTzx4f8BW51a5hLo/k+XFZ2YJH3nCYJXPCrk9cg10U5YenH3lzS+5f5v8PmccpUUufF312gm/xtrJ+S0XmcZZeBPFF1Hd61Jp3hrQlwZEh12M6ncT87iZ5nOI+/KAkDrnGTFD4u17RZDY6H/wrWeZ3DC20Wyupi7EdR5QwTgeuRiu8tvh6dUEV3411q81y8yjvBuEdouMfIIgMMM9zycA8c56ux0mGxtzDZSNbIRz5UMSZbP3sBMZxx6Y7Z5rR47p7ONvT9d382y6cqmnsqNOmunu3f4Nfi5HjFlB8dfEsss8ksXhmNmHkpbiOKNCTlmdXV3fv3U5OeeldTP8MNf1OwWDXvij4nuHwysLTyraNlYYKlQp3fiT9BXe2abYppDfuqC4mJw6soySMZK5GDzjseMkcVEb1T8tvc3t2QF5jjQj5evO3Hzd8dO2K5cRnSoWU3GPZcsb/JWuzspqq7875l5xjb7rW++7PMYf2ftBWZGn8UeJJ4gwLxmdFDj0yqgj8DXRxfBn4bJbJDJ4bScKoVnluZWZ8d2+bk11kcesSyA/aDbxjIIcI7Nk5zwMDHQfrk8099ISUoZ7y7kIPzDzMBhg5BGOnP6daw/tzHz0w8Wl3/hr7kub74m1KX1dNU2oJ9IpL/0myOLm+EPwmiO2Xwzp6HGcNcyA4/77rTXwt8OwgS38F6HcbV/g0iNj7ZJX+ddHFpMMSbY5XUlQpPlx5JBzn7vU9PTHYHmrP2eTPF5OBlsAKnGeg+727frmpnjM3q/FXt/4FL8W1+RbxdTrOT+ZyjeDPCUnEfw58PdOfN0+3A/RTWxLYTLbbZILGOJFVRFDaeZ3GOPbj8q0xBLkf6bOeV4wnOOo+737/piszXri0s7Qw3uux2zuvy+fPHET84O4Hb1HQcY9c9aylQr1n++rTl5Xt/6Sk/xM54mTV5P7/wDgk40uRj+8uYwP+mdui/nnNH9jW7HM0ssnHGAq4/75Armp/iV4KjuAkHih75iWcx2Fu11sUADDeVGxUZORnknvjioP+FiadNIIdJsfF+sFY1MjWukbdmD381U5b2BGOmDWqyVv4oSa83Jr8XY5HmVJfbXyt+h18ejWCNu8t2OMfM56U630fS7d/MhsIEbGM7O1ca/jDxFdyeVo3gbxVM4SRnN6LazVc424LkhiOcD891Q3d78TFNu17eeEvD0bYYtc3DXBcgD93jbHjuSQx6cYFOOSYdO7pwT87X/VkvMU1o5P5O33uyPQo7eCM5jhjQ+qqBUgAHQCvGI/Fl9PMqXvxq8LWaRqRmysoiztnq3mFhwOOMVz+p+MfBdvCI5fiZ4+1idyyznTysaZ7kB0ACnttJr0KeVcislZeUX/AJJHDVzilBXf4yj/AJtn0G1xArFWmjVh1BYA1yeo/ELwRpepzJdeJ9NMmFjKQnzXVgXyG8vJ49CBj8a8Yh8RfCV9kFh4QvtTu3ZWkm1iSBCQo5JmlZsk4Axkf7OK39B8UrpqLcaTD8P9JLQmJE/thRLGm4lQSkBXIz2JB75wK0+qU4/E/wAYr9X+Rz/2zCfwzj+Mv0X5noX/AAtf4f8A/QxR/wDgNN/8RTX+K3gt2SLT7671S5kbalvZWM0krcEkhdvOADXmmp/Gf+zbiQ6r8T/BemOLgg239nXNwqAZATzBt3gjDbgB7ccVnSfF8tpsV1pvxC8Va/PK2Fh0bwQWRxzlo3ljVWQY67ifrR7LDLd/+Tf5QLp42tVXNTaa8kv1qHrzfETTXG1vDPi9h6HQZz/7LXP3r6TrETTH4M6tJHLIZBMLe2tpXOT8x/eLIM9cNg88149Hqnx38TMl3pdt4t0WynmZxe3mZZGTB4+yxhFjy2B9/gA8VqQ+DfH2pwQQ+LvHnxYu7ffvuLfTdLitgTzgJIXLADI6g5x+NTL6tH4Vf7/+AYzrqv7tZq3on+kkdybS6tiq6T4Z8f6UI5GZIYtTtZIkBzlRFLKyjrnpmsh/Evgzw2ZbbUPClhJqZkVLm58U65YIQcZ+d2kcofQBRnIrmh8FfAs14bjVNK+MmrhizPHdyph2II3EptYkZz169c11PhX4aeE9HmS80L4ITzCKd3huNUuLdrg5XaQfPLPjrjJP1xxSlVoLaF/vX6syhRoXWvyUXL7ly2XrY5bW/ir8K7oz2V54Q8CSEPteWz1Bjkqf4ZobbkcdVbBri18beArpXEfgvTnhVgo2WOp3KMQBkh0IU854wMdPevpvTr7xVptlHZaf8Pbu0t41ASOC/sY1B3ZYhVAALZOeMemDzTrHXPGZsYfJ8Fai0ZjOxl1azYEEDaQTycdievfNbUc0rUlyw0XlKX+bR6ccbUhBQp1qiXblkl+EUfMNlr11cXn2vwh+z/DrsEEyrHeGwvUgL4UkMsjk8Z6FSDXRWvin4qtdwfYv2bfCtrdeankzvpbgRNuGGJ2DGOucjHWvoKK++I9y7Sw+H9Ps4g67Yr3UlMhAUZz5UbLgnPfPHal8z4mbNv2HQs7du7+0WznOc/6jr29PbPNOeaVanxtv/t7/AIAvreIbv7Sb9Yz/AFf6Hi2pL+0z4hne1vPD/hewsrhlU2jaXDcW6gY+ZjJISeRnocdqy734N/GjVLlftI8F2W8qrTWenpAY1zyyhG2g++0n6176tt8T7iV5m1Pw9p6eYSkHkPcYXaB9/wCTvkgYz6kjimyWPxQij3pr3h+5Zdn7o2Tx+ZtPzDduO3cOpwcdgKwjjORWhFL5y/zIcqkk1JzaflD8rX/U8Ub9nHx3JZTWtx41tZUmkWR8SyICy/dOAmCRk84zyaueG/2Ybu10K90zUPE9sPtEocSCGS5cDHIDM6YB9MH6ivYjL8TMEf2foI4YZ/tFuMng/wCo7dv1zSSP8TpBtjtPD1uzOpDtePIEGMH5fKUsO+NwOe4HFdCzrGJJRla3ka0q7pWUJVElslzJfcrI8q0/9meHSoHt7fxVEy3K+Q5fRFlIXB5yzkp0+8MH3qWy/ZU8Js4m1fV5byaNgYTHYxKqgc4KyCTdz+HtXpN1pvxJH2dZPFOgBt4VGNg6kt8xzgPgkjIx0xzjIzVg6d8TNxP/AAknh8DLHH9mvxkcD7/bqP1zSlnWNlHldTT0X+RrHFVYz50ql/8AE7fdzW/A4CX9mPwRJdSXJvr2KSQAMLa1tbdDjp8scSr+lH/DMfgn/oKav+cX/wARXff2J8RZg8k3jaytnWNRFHbaWhR2A5L7yTycdCO+MUjab8TjGVHijQVJRlDDTWyCTkN9/GR0Hb1B61Mc4x0EoxqtLstEVPHV5O7jUXpKy+SUrL7kYKfAH4dx/wCrt9UjOBny7+RM/XFB+AHw5JJa01Fy3UvfOxP4mulHh3xpgZ+Ilxn/ALBNt/hR/wAI74z/AOiiXH/gptv8Kl5rjX/y+l97Ilias4ckqU3HtzRt93OZVp8E/htCZPN8P/a9zEoLm4kcRD+6vzcKPSpR8FvheD/yKNp/39l/+KrQ/wCEd8Z/9FEuP/BTbf4Uf8I74z/6KJcf+Cm2/wAKl5njH/y+l/4Ezo/tPF3b5J/fH/5MzE+D3w1kuJo5PCVoyJt2BhIAMjnB3c/0rR0f4V/DvSZXls/CGlbnG1vOi84Y9hJnH4VBB4d8Ym8ugPiLNu+TONNtyRx3GMD8OtTxeBbgRqJPHPi5nAG5heoAT3ONnFZvHYlx5XVlb1ZhHE1oxcIUWk91eKT+5s0n8D+CpB8/g/w+3102E/8AstZmk/Cr4daXNJNaeD9LLSLtbz4vOGM54EmQPqKf/wAINL/0O3jD/wAD0/8AjdH/AAg0v/Q7eMP/AAPT/wCN1McXXjFxjUaT82XTxeKpw5IU2l2UlYs3/wAPfA95ZSWj+FdHhRxgtb2iROPoygEVyUnwW027mW31XxHrN7o9uu2ysDLs8gc9XHJwDgYAwODnjHRHwbrVtKsul+PtfifBVxeCK6UjjGFZQAeOtEXgW4ESCXxz4ueTaN7LeooJ7kDYcfSpjXqJ83Nr9/5nLJOc+aWHu+75f6fzW5yfhv4CeG9N1ye91HUb3WLM8W9lcAKqAjney8uc5x09wTzXSXvwr8AJZzPH4Ytg6oxXAkcg47Lu5+nerX/CDS/9Dt4w/wDA9P8A43UOoeCZI7GeQ+NvFmFjYnzNRRV6dyI+B70Va86suaT+5W/Kwp0ozd3hY/dBfkjLPwR8CK0jQW+oWxkYsfIvGTGT7VV1v4NWd9d2txF4gv50tCBb2urFr62iUAfKsZZe6r1JHGCK6T/hBpf+h28Yf+B6f/G6P+EGl/6Hbxh/4Hp/8bojiasWpRm0+/UIwnFqUKLi+6lyv0umnby2MMfB/SZtLjtb3VbmR0m87ZHbwpaKcEYS2KmJRyTnBOTnNWpvhzfX2lDQdW8VSXGgKhjWyg06GBnj3AhHYAjACgfKq1euPh7BdBI77xZ4su4VYN5UmogKT7lVB/WkPwy8Okn/AErXRkv/AMxafjPT+L+Ht+ual1qj3k+/zJ9hVltC3rUlq+7te/z1MJfgV4LGpxTtJqj2MaAf2e10fJYg8E4+bpxgHFOl+BXgMy3ElvDqVuZt3ypeuUTPTAOeB2B9K2x8MvDu4H7VrhGVOP7Wn5wOR97v1P6YqvefDvwpZ2rTXmraxbRBdhml1mVACW4OS2M9h29s81qsVXa5VJ/1+vnubKnV5fZqjCz8/wAfg389zAsvgH8N44xBcw3F5cAndJJON7fUAVr/AA8+GeheBvGF3e6LNmO6tnQQPFl4RvQkbwcBeBwVycZzxVHU9B+Eem2our3WbC2xcF/tf9pgT7mUjaZQfMI6n73seOKv/DcfDseIJP8AhENZsdU1A2jfaJBe+fcFNyDJJ5IJC5ycDAwBk1rKWNlByk5cvXe3zNqWGxifPKFl1alL8dFf5s9EooorgOoKKKKACiiigAooooAKKKKACsuXw34el1caxLoWmPqIYMLtrVDKCOh34zmtSigCnqGlaXqFxaXOoabZ3c9lL51pJPArtA+MbkJGVOO4wadqGm6dqElrJf2FrdvaTC4tmmhVzDKAQHTI+VgCeRzzVqigAooooAhfd9tix5mzy3zjG3OVxnvnrjHHXPapqrybf7Sg4Td5MmCUO7GUzg9AOmR1PGOhqHxDqdvoug3+sXTbYLK2kuJDgn5UUk9AT29KqMXJqK3Y0nJ2RyHi3xBrureKJPBPgu4gtL2CFZtU1SVBKtjG4OxVjyN0rYyAcADnvXF/D1fDfhG91PX4UudTuLmeSw0pY4/OutQMY3TTlhksXkzljgAAdsVZsX1PQ/hlHsaSTxp42uPtEgPDxtMOTjGVSKPC9OD6Dp3Pw58BaZ4QsYSGe91MQCKS7lYkhck7IwfuJk9B1713Yuoqd8PT+Fb/AN5rdvyvt2Xnc4sxq1KuJWEw9uWGsn/e2Xr1aWy0e+9OPwz4k8ToJvGWrGzs3w39j6a5RMY+7LL95+vIGBx34x2OlafY6VYQ2GnWsVrawqFjjjXAAH+etWq5HxX460PR5msf7Qja9wf3MSmWYnnCqi8k8fQdzXkYjERopX1b2S3fp/Vl1HToUcMnUk9espPX7/0XyR1VxPDbx+ZNIsa+pNUvtV5d8WUPlRn/AJbTDt7L3rjYrnxhqxLaP4bGmqchb/XJcyD5sblgXJBx2YgdOtaD+GPGE8YhuviJeeUxHmeRp0EUhGeQrgZU+9c3ssTX/iS5I9o6v5y6fJX/ALxX11f8uqcpedkl/wCTNN+pttDYwQSXmr3G1YixZ7uRVRVU8tjO0A4zz+NY958RfDMM8lrpclzrdzGhYxaVbNcYxjGWUbRnIGc4z1qvo3w68N+ZNd6sLjX7ozuRPqTmQphuirgKOnJA5Ptir/iHxV4X8HCPTdg+2zfNb6Zp1vvnlJPURr0Bx944HvXZhcFTpvlow1f3v1e7+ZlWr4px5puMF56v9EvxK/8Awkvi65lb7B4AuFiUDJv9RigYsc9AocEdOcjr0rk/FHxK8UWd9LpdrpekQ6mIjtsYJpdRuS2Cc7YVAQAAff8AUHpW1/Z/jfxqY/7aZ/Cehn5jZ2k+b+cYOBJIPljXkZVefcHpatdV+Gnw/svsVpfaTp24BjFC/mzzkHHQZeRs/U5zXowoQTs1zS7L9Xr+H3nFUjWmr+2cY93yr7lZP72vQ5Mal8crqVv7O023WJFGTqNvDbsWOeFCyOCOBzkdeldLp2lfFa5hlTVPFOhWO5AENrYGZgSDn7xUAjjHWpF8ceIdSjZ/D3w81udDGpWXUJIrNdzZxw7ZK4wSVz16UHQviPq6gav4wsdGiZVDw6PZZY85YebKSQccBgB64qp0l9pRh823913+QqdCH2ZVJ/Npfe7fmzNuPh94iuiT4h+KetSQrGwUWgWz6/eLbThhj1HFcHceF/hLoLFj4+S9eRBx5dtf4GexMbhOvtn3r1O3+Fng8kSaraXWuz4IM2qXT3BJJySFJ2qT/sgdKk8T618PfAlgy6nqPhvw8JTGmJzHFv5JUFRhj91sfQ0KvCCaU5P091fr+QPKVNpuKXm5Sk/zX5nB2dx4mvI4YPA8ni26hWFSJrq1tdOt1TB2BC0GX6DAAxgjmrUXw/8Ai1qzLJrfxKNgUQeWtirnJPUMFMY49easy/Gsa/ILT4XeDdd8ZXBh8xrloG0+yiyDt3S3AXOcA4UHIORkjFSx+HvjprLJPqnxE0DwwBHxbaNoougWJyQ73BOcDABULnnisniUvggvnq/x0/A2WUU5fxJSfldpfnf8SHTPgVoVuvmat4i1y/by/nxcCFQ3dht5x14JNZXihv2b/DM4sNf1TQvtUTmJ4Tfy3M0bqBneiMxQ/UCrkHwh8O6kDB4y8eeNvFO2FoZIb/VmgtmJx5hVIQmVOMbWZhg456123hrQfBXhOIL4T8LafZiJGVpLO0VCqFtzDfjJGecZPSvPnn9FRv7ZW7J/ov8AI66WT4amuWNFfNf5nnOn+MPAt9BaReE/gj4h123a38xJh4cjt4/KG0IwluSgk3A5BBYkAmr9rr/iCO8j/wCET/Z3ntboo3mzalc2WnoE44V4/NLEnsQBx1r1m9umZbeKzkXzLg/K2MhVHVqLa6mjuRaX3lhyuY5FyA/r16GsHmVL2vs23bRX6XeqV+7VvLVa3OiOCpRXMoL7keanxJ8XsHHwQ0TPb/irIv8A5HqjZ/D/AOJfipzJ468dtods6o76V4WgW2Vfn3bDdHMpOFAJXZ1wCwr1Y6mMs8drPLApIMqDIJHXA6ke9OhuLU3U1yJYdhhjO/aQcZfGWPB78dRznqKuljsPVb5Jbfl3V915rQ0dK3Q5bwP8Jfh34NjhbRPCumi8jDZ1C4hWa7csMMWmcF+e4yByeK7WKOOKMRxoqIowFUYA/Cq1rqFvczmKIvnbuUlcBx6j1qxPLHBE0srbUUZJq6eKo1KbqQmnFdb6aDcWnZofRVe5vrK1t0uLq7gghcgK8sgRSSMgZNZmpeLvCum2v2q/8R6Vbw7gu97tAMnoOtdVOnOqk4K9+2o405y2Rt0V59/wuHwN9ukhj1K5ngUlVuLfT7iaORgcEKyRkMPcEinp8UrC4LvpnhLxnqdqGKrc22jt5cmOuN5VvbkCt6eCxM7/ALuSs7apr87G/wBSxC3g1+B31Q2O77FBv8zf5a7vMA3Zx3xxn6cVw8PjfxddAy2Pwt1p7dmbyjc31tbysoOMmN3DL+NVNL8RfEeayt/J8H+HtOjaNRDb3msFJdoUc7URwB1wM5x1onhJU1epOK6azjv233D6pU7r/wACX+Z6TRXmk+rfFecrPBpfhawhMghaZ7ya4RPm5fYEQt6feFSyyfFsTyRw6n4On8rHmFNOuPlz2x53Jri9tQSvOrFdtea6tdNcvNo7P7m9ivqcusl956NRXnUPh3x/r0Zm1P4irY20ki7rfRdOSLCLjIWSQs6MSDnqPbHFMf4eT3GoPav8Q/HTxRxBnzqEX3ieB/qvQGt6v1eMIyjWi3La3NZ3135e3a4lh6a0lUX3P/JHpFFeYWnw78OwzXseua/4j1GaFgwnn1maMrHtGFxEUXj6Z5rndW0/4U2Bma98YX1m+1Wgt08QXM0rqeAQiyFmJPQDn2qKNbDVmqdJznPW8YwTatvvJaX0Tdr6GkcJCTtGTfpH/gntF5KqywL5hUiT5gpXptP3s9unTnpSXmo6fZ2sl1eX1rb28S7pJZZlREHqSTgCvB7KL4eXV4BbfDfXfECPMqS6lcWF1cjO0ZXdMfMAAxxgjrgHNXJPDei3GryNo/wNmurS2ZSkriKy3t1+7OVZgPUDGc/j0+zp8ygoVL/3oKC+cpSSXpq+yZr/AGfBP3m168q/OR6n/wAJ54G/6HPw5/4NIf8A4qs/Ufir8O7G48ibxbprvtDZt3M64P8AtRgjPHTOa5H+xfEl5Ox034S+HdIhCqHGpXkBaQ852eUkgGBjk469DW94O0Xxpp13csNM8LaFZOg221kXlLyYPzs21Af4eMevPNTUSopyqUW0u1SDb9LJt+eifa4PDYaKu5f+TL9LkyfFrwhdTNHpH9r62EUNI+m6XPOsec4DELwTg1J/ws7Sf+hd8Y/+E/c//E06Cz+INxaahJfeILS1m8to7ZbPT1AQhiRJiQuWYjAxkLxx1yM86J44NgbxvincTQgAvGui2yM3quRypPTI5FKnj8qnz3bioq/vOSulu1+76bapfc02vY4fuvvb/KJYPxY0EMV/sTxZvBxt/sK4zn0+7T0+IGsNEkn/AArXxWquoZd/2VTg+xmyPoam/wCFcaTdaudZ1DU9euLkhTHH/aUkcVuQOQgTbnJJJ3bvwpNf+G/h7VtaOqXunW2oSlFjUXpaVYVHdFJwD07c4GayjjaVOMZ1KDkmruzu0+1m43XRu+/S2of7Feyv8/8Ah0VY/H+refOR8PPFTHjKFrQBMDt++/xrIsPi3qk1tJcyeC47yFYi2dH1y2vfLbGdsv3fL4z/AHuh4rptd8D+H9axbXmk6dei2kVlS5hJAJTBP14H3cdK0LbwrpNhostpa6fZIdu5RHAqKrBcDAA9OM9SOtYvM5RoSX1Ve0Wt7y5Lb2Xv3be2ySeu1kxTwfL8Gvz/AMzyyP8AaBZ4lk/sHRAGUNg682R/5L1c0X4xeONYUvp/wb1h4/LEokkvTEjIehVniAb8M165FewR6ZBPtIVlVURBkk/3QB/nio/Iur/m7zb2/wDzxU/M3+8fT2rtq57lzilhsJzSaTXvysk9m2rWX49kxuthdf3CXrJ/8A4Cfx98RY0jaP4TNcmRQ+2DXY2Kg9CQYxj/AOtWTY+MPjhePDHF4J8Pxzv5hkilmdTAFIxvO/HzZ4xnoc4r1HV91k8F7bxZKAwlR3B+7+uKZHb/ANnT2czHJkzHO3PLNyD+fH415Kz6pRmqUsPC8Wud+/ZxlpG15O2ru9fsO+4o1qKjdUo6+r/U8+M3x91OZIlsvCWgqgLNK0jTBzxhcDcR3NaMmlfFSHRzPqPj3RYJ9h3xwaH5ihjwArNIue3VRXc2mpLNc+W0TJHISIJD0kx1+lVtYYXMskSsvl20LSyFlLKGwduQOTjk4FdWI4iVWhfCQhzN8q93r5813a3vecdVoQ8RK9uSKXon+dzk9S8L/E++thHH8ULO0+YN5ltoChiMdMtKRjmoZ/hv4m1DToYNW+K/il5kO5nsRFaBjz/cXdjB6FiM811qyPNbx6OWHmCQxynPPlrzn8RgVYW11FlazMxS2XOJQcu69l9setYUeKcTNL2VK9u0YaStrF6aWW7vbpuH1ipHql/27H/I8/8A+FP3/wD0Vbx9/wCDM1T1X4Fpq0Cwap8RvGl9Ejb1S4vhIobGMgMDzgn869W0iVpdOiaQneoKuT6g4P8AKoLbUmkvAGi22spKQS4+8w65+vOPpXfHiqtCNKo5257W0Wl++mm6V+7S6jWNxSbtLbyX+R5LYfs4+GYbtJbnxH4iuohndE1wqBuPVVyPWtOX9n34fyoUl/tp1P8AC2oMRXpEGoNJqbW/l/uCSkcn9515I/z6VNqVy8SrDbjdczZEY7D1J9hVPi3E1KcqyrStF20017Jdb3Vu90OWPxrkr1GeZWH7P/gDT7tLuxOtWtxHnZLDqDI65GDgjkcEiur8J+CbHwzrf2uz1PxBeGW3eNlvtReeJfmQ52seG44I7ZrdFzc2bql/seJjtE6jGD23Dt9ank2/2lAfk3eVJglCWxlM4boB0yO/GOhpLPMTjVKNSpK60aluv+B5rQwrYvETVpzbTLNFFFYnIFFFFABRRRQAUUUUAFFFFAGZ4s1m38O+FtV8QXgJt9NspruUDqVjQsR+leN+HD4v8Q/ACX4lSeJNSt/Fd3ZS6xZiK6YWlui7nig8j/VsmxQGLKWJJORxj1X4m6HL4l+HPiTw9A22bUtLubWI+jvGyr+pFeV+APEljpv7HKXV65gm0rQptNuYHGJI7qNWh8oqedxcAAdTkY60AenfCbxZH46+G+g+LY4RCdSs1lkiByI5PuuoPcBgwrzD4mfE6C/+Ks/w8i8Snw5omjWq3fiLUoGxcyFsbLaAjLLkEF3UZAyAQea6H4GjT/ht8HvAXhPxTqFvpmr30AigtriQK8lxITIYgP7w3gfXHrWH8I7VfDv7SnxQ0rVEWO91s2uqabK4ANxbbSrhCeTtY4IHTFAHp3w5n8H3nhuO+8E3VleaZMx/0i2m80yOODvcksX9dxzXSV4j+ztpv2P4o/Fu40mJY/DM+twiy8sYia5EZ+1FO33yAcdxjtXt1AEEh/4mEIyceVJx5mO6fw9/r2/GuF+Ok8tz4dsPCtvI0UniG/js5ZFz8lsv7yduCOPLRsjPIJFdV4g0+91Ca2istav9IZVdmmtIIHLD5flJljcAd8AZOOvHPjH7RF/JH4xtLM3TYtdGc75yuxGuX8neFC5J2RygnqN4xjmu7L9K3tP5U5fNLT8bFLELCxniJfYTl80tPxsb/wAICfFXj/WvGjW7Lp1rGNO0kMowkY9O+doGTn+MivQfGXiWDw/awxxwPfapeMY7CxiP7yd/6KOrMeAK43wu6eA/hJpG0TnUb2NRDZqESSe6mIIHzA8qCAT0CrkitjRPD15Y3Y1bVr0XXifUfkmlQDy7eLB/dRg8qi9cjBY8k9q83E140YOpLX82+i9WzwsvjW9jGjF/vJe9J9ubX7+iXld+dQaH4w8RTvb6/wCKPsdrjFzaaQnlqMnPl+acu3GASNvcc11fhzwv4f8AD0TR6Ppdva7juZwN0jH3dssep78Zq5bWJt4Fhiu5lUBeipyQck/d6t0P6YqQwTYP+mzj7/8ACnGen8P8Pb9c1nho1VG9V+8/uXkvTv138j04YSjCXMld93q/ve3otB1zdW9tt8+VY95wue9NvL+xs7F7+7vLe3tIxueeSQLGozjJY8dawtR1DTrCG417W9Wjs9PgYRrLPsCsAMMORzuI7c9h6V5FcarfeNPEcUOn6bJqkcD+daaNK6JEmDgXV9/Cmc/JEBnAyR6mAWKxd60Yp0tbdG0uqu+V3e12rKzv0DF4qnh7Qv776f8ADa/5nXHxb4k8VAx+E4pNJ0UvLI+uXW2R5IwzDMMTEYXOMM/AHY45y/D2t6XpbXNj8OdIfxDrErj+0davp8xmQk53y8mRup2x8fNnPrt6V8N7nWgbrxxq0t785/4ldpH9nsVIJxlOsgGAQWOOBwa76y0qCztoLa1byYYAoijjhjVUx97AC8bu+PwxXZOpWjGShJXeyteK13b0lJ/dG+ya1fNToTqSU53Xn1+S1UV977nCHwfq2q3Cf8LB8SXt9FIVC2unubWyyNp2uqnc5yOrH6YrotJ8M6DpN4LHw9pFhpqxxqZ5YLdPMYj7gZiCWPU5JJ963prNpoWiku5mVlZTlEPU5B+726D9c1514t+JnhXwndw6Hol3ceJPEl1KpttE0tkmmlzhfnfBWFBkHc5X7pweCK8/EfXq0lSlU/dt3dvdenT3Ulq7a6O1077ndSw9Cm+dR97u9fxd2egNFqUOTFdRTr6TLtI/Ef4V5jr3xqsjq0+ieDNLu/Ges24PnWmiKs8ULbSR5twSI4wSuOCzZ7Egiqdh8KvE3jqyGo/F7xVqkjXCfL4e0u4FvZ2iMSTHI0YBuG2kKSflPzcEYI9P0Dw7pPhjR003Q4odJ06AOyw28MUcaAjGT8vbHU8nuTUfUFtGpJLtzP8AN3l9zN+fyR5pf2vxz8czrZ3MelfDbS41UzT212uo3s7ZyREdqpGMcZYEgnIB7XvBfwu8H6Ax1C30Y32rqxa91nV5PtF7NKxKsPPlyVBDHIXAPGeTmul8RePfCegSxRah4o8yeRVdLe1iFzIyrnJ2xIxAbHJOBnoRWFceMPGOs25Xwx4I1posANc635Vogyd2Qm1nYjgAgFeeeRXXLIa1Zqorxg/ivpzdvebW21lunY6IUKrjzONl0b0X4nfJDqFkqpbslzCoCiN8IygDjBHGKJW1cxNH5NvudcB0kI2H1Oev4VxkWi/FrUPm1DxpoujqUJ2adpfmkMQPlJlboMHBGDz9MWI/h3qAjUSfErxwzgDcRdwAE9yB5Rx+dOWS0Ypx+tNLsm3b5uL/ADdulh8lNfFON/R/5WOyW3tILKO3mERjjX/lpjHHU81zep/Ev4faakZuPF2jFZCQoguVm/MJnH41kw/BzwcRGdU/tPW5EjdFfVLxrnBbGWAb5VPA+6B75rqtI8L6NpEyzaXY2lk4VU3QWkKMUAGULBM4JAJ56jtXZToZfQVo8zsraJR0W2vvfkQ/q63bl9y/z/I4/TviX4FjvnXSdRv9ckZSRFp2nzXBt48jqFUkAlutSXfjDxDrkMUej/DPW542Jk8zUrmOxXaOhH3myf7rKpxXe/Zp9m3+0LjOzbu2x5znO77vXHHp7Z5p3ky7932ybG5jt2pjBGAPu9B19fXI4rGnQy6jRdCnh7wd9JSbWvpylPEUk+ZQu/N/5WOGtZPjCbaMjTvA1sCoPktcXJaP/ZJVcEjpxxVG18I/EDUL3GseOrWwRB5xt9JsEIR3Lcbpd2VGOpQEk9sV6MLebA/02c4Cfwpzjr/D/F3/AExUCW8/26f/AE25GYQA3kxgZLNghtvJX06DvnNaValKpa9GGm3up2/8CuJYyS+GKXy/zucVN8LzMgmuPHHjK4vt5cy/2u8Kkk5ICJhUGOMKAPamD4UadeSomva14j1WyQ7jaXet3EsTtjgkEjpnIwa6jWfEnh7RT5mreKrGyXzghE9xEg3BTlDkZ7E+uR6cVy8nxU8LSBYNI1DX9duWPlpHp2kvI0hUks6sYwjDAIyCRjkDvW8KWYVp+1pua9NF+C/y0N6dXGzXuX9bbf5BB8L/AABpN+ZrnwrFdQAkxNcSSXMaZGCGSRmXjsccVuHwj4J0fZqGneE9BguxxbyQ2ESvuIwMELnofyrBOv8AxF19lj8PeFZtGt5HkP23X2jACZAA+zp+8z1IDEepLdDatPBfii50S2tNY8bXEN0ly00s+l2ywMEIOI4y2QBkjkqcgYxnmuLFU80pJ03iLqWmsm5QT3el7pdE2mnZarapSqO3tqln2u3+V7HVHTltdFS3g2RSxnzFKgKDJ1PT15rJfxNpsGsLBceINL+2l/Lk0xbyMyoCM/czuLAcnjpWO3wh8M3LK+s3ut65IC7N/aV80yPI2fnMeBHuAJAwoGO2ea3NI8BeE9J8sadoenW4im82PFnESpx2YqW689c5744rlrZPgoq9GrNSSSVlZXWzet5eadrrfZGHPQV7ty+Vv1/Q5+X4heE5PEa2qa5FJrP2tbWOxjRmfrtKnjHqSc8UsHiy6jluok8BeKdYjWXyxcrFCUkCDAK+ZIrN/vYwTkjNdxZ6alnbLb2kzQRADCxRRoN24szYC4yxJz+YweaTT7ef+z4Aby5U+UeDFGhGQMfLt429h+eajD5bhKNVTcXNW1Uno5veelrXWltUkJ4il9mH3v8AyscQNR+JutRzDSvCehaJpuDHFDrNy/2hxk/MVhBVB04yfqafpuh/FMW58zxV4b007ji3t9Ke5UD18x5EJJ5PI49a7wQTbgftkxG5TjanQDkfd79T+mKb9nn2bf7QuM7Nu7bHnOc7vu9e3p7Z5r1Pa0o1FUp0YJpWTtfTt71xPFu1oxS+V/zucVfeE/FF1pJh1TxdeGR7oS3EmiwCxeSIAYQHczA5BJZWBOcUlr8N/CusWMMmtwajqzw744Li81CYzGPcT8zKwLHJPXnjFdx5Mu/d9rmxuLbdqYwRgD7vQdfX1yOKQW82B/ps54TnanOOp+7/ABd/0xXFCNanXVSnUcYpuSirJKT0bVrW0b0210t1PrtVK0Xb00/Iw9C8B+EdEsrmz0/Q7dILon7QkrNN5uRtwxkJJGOMdOvqavaP4Z8O6OjJpOg6XYKzB2FtaJGCw6H5R1q8bebBH26ccMM7U4yeD93+Ht+uad5Mu/d9rmxvDbdqYwBjb06E8+ue+OK6HUm5Sld3lq/N7a99O5jKtUlfmk38xt4cSW3JGZu0uzPyt2/i+n49qsVn3dtcf6MovrokOAWEMbHgMdx+X5c9M/pzmrJgm3E/bJgMscbU4yOB93t1H65qDInoquIJhj/TZzjZ/CnOOv8AD/F3/TFBt5thX7dcA7WG7amck5B+71HQdvXJ5oAsVTm02zluFuDEA4bcdvAY+471N5Mu/d9qmxv3bdq4xjG3pnGefXPfHFNFvNtC/bpydqjO1M5ByT93qeh7emKxrYelXSVWKaXcak47MsUVXMExz/ps4zv/AIU4z0/h/h7frmlEE24H7ZMRlTjanQDkfd79T+mK2EJbn/TLkZJxt483djj+7/D/AFqxWfBbXH2m5H266GVVQxhjHPXcDt+Y9vQenerXky7932ubG4tt2pjBGAv3egPPrnvjigDPsLGZdQczLi3gdmgGcgluc/hWtVcW82APt054QZ2pzjqfu/xd/wBMUyZDFGWl1KSJTuG5vLGC3Tqvbt+ua5MHgqeEg4U+rv8A5L5KyXkipzctWWyAeozVfULWO8tjBIWAJBBHUEVRvNV0yzKPda/BCrOCoeWMAgDBXp0PU9/oOKoS+JdCjRVXxN57ldo8hVmbIOSxCIcccdMfjXZUwbrwcJQbT0ehg8TSpvWaT9Ubs9lbzWq2zx/u1AC44K49KiuLeG10u5W3QRDy2OVk8s5x139j79qw01+9umU6bpOuXKtvcM8UUKbSMDBcc46jv65qLUL3xVNZSx2+iXMbeXy1xPAykKDkBVVixb0xj0xSWWxjU9pyRUrWvonbt3J+uwasm2vJN/odQttCt210F/esoUn2H+f0qauXW18cvFltV0mJmVht+zsxUk5HPAJA4HGD3FP+y+Nt+7+1tHxv3bfsr4xjG3rnGefXPfHFaQwsKd1FpXd/m9+gvrMn9h/18yy/mLdXGlw5UzzB9wGNqEZY/pj8a1J7OCWx+x7dsYUBcdVx0IrnDp+vWsYu9S8XWlvKfkMn2KMLjJwAWIqMrJMyrd/EBDEDnFv5MLE/73PH4V5uGymjS9pGtUi1K6S10jdu23nr8uxu69aaThSl+G/3m9dWPladElqu6S2YSJnqxHX8+afp8BRnurplNzIeec7F7KK4O7vvh7a3s0Oo/EXN0soMqy60qMCOqkKQAD+foRVObVPhDb22W8SabfStlcxut3cSOzZ3bUVmY9uhGOvrTjgsup1VUVTZJJaWVtL77209DpjhM0qRtHDvX/F+kT1OTypI2jk2MrDBB6EVl2Qhi1oWtvqImWOF91uZwWjyUxleuMdCen4159/bvwmL5AnxuJ2/2LcYwRjb/qegPPr744roPAer+ErvWDZ+GpZy6WrNKj6W8AOGQbt7xrySfug474GK3msDUmpqV5rbZfk9V5CeAzOnFyqUXGPV2l+sUdxRRRWxgFFFFABRRRQAUUVBf3lrp9pJeX1xFbW8eN8srBVXJwMk9OSKAJ6KAQQCCCD0IooAKyJvC/hubV/7Yl0HTX1DeH+0tbIZNw6NuxnIwOeta9FAFHUtH0nU7qyutR0yzvJ7CXzrOWeBXa3kxjehIypx3FR67oGh66kS61pFjqIhJaL7TAsmwnrtyOPwrSooAg0+ys9Os47PT7WC0tohtjihjCIo9gOBU9FFAFaTb/acGdm7yZMZJ3Y3JnA6Y6Zzz0x1NfM/xkvBdfGDxLeXEzz2+mafa2KGEofKEo+dSD14aX3BYdMcfTb7vt0WN+3y3zhhtzlcZHUnrjHHXPUV82/D62m8SfHrVLq4sYv7Pk1i6nkSTLK5txsAzjDEMY2x2yK78L7tGtLyS+9p/kmcOa3eBqU1vNxgvJuSf6M9e8D6NLLIfGHiOIrdGMrptvI4YWFrj5QAOPMYcseT29q6vS43lZ9QmBDzf6sH+GPsP603UT9ruY9PTJTIe4I7L2H4mm7ru9uJZLW48mKElEyMiRh1J9u1fLYjFKeJXuuSi7JLrK2r1srRWnq2t7HbhcLGhS5U9933/wCH/LyLN5ex27iJUeaZhlY0GTj1PoK5/wAa+LbLw/4WvtS1Am3kgUqYiw3EkcBT3J6D3rciSHTra4vr65jU4MlxM5Coqgep6ACvI7/SZvjR4ntNRkElv4G01mELZAfUZQxDED7ypxjJ7dOScd+HwWJxic60+SHVW1S7J/zv7lro7XMcXifYrkpLmm9v835L+tzH0Rde+ImoWs9pcNL5RO25EYOn6MjKMiLPM91tIG4jahY46ce2+FvD+leGtIi0zSbYRRIPmc8ySt1Lu3VmJJJJ9au2kNnp9vb2FskNtEiCOCFMKAqjoo9hXEfGT4oeHvh94bu5p9Qt5tbaPZp+mRMJLm4mY7UCxA7iM8npwOvSvVr4jnhyUo2hFaJdl/X9Nk4HL3Gd5PmnLq/6/r0SR2unFPJl2GPHnyZ2MSM7znOe/qOmeleX+I/jnoqTX1n4J0XUPGNzZFkubm1ZINOtXDKuJruQhF+9n5d/TpjmvDfh34M+LPxb0KTw/r/iQeHvDFncu11pygrcu8pZyJgMM+Q5O1iFJPtXomi/C/RtU1U+GPC97JLpPh+PyZNTvx9rRJiB+4t4flhUptBZgCckZzznKn7GNOM60rN/ZjrL80l9912PpFlEVWnCdS0Y6t2e3RtdL3Vlq/IyJ/EGtfEJJF8YeLL2fTFVTJoHgO0uHSbcuBHPeMoOSd2UBVcc7j27/wAKRXvh20bTPhr8GI9BQoiSXOpSw22W6Bn2F3mwBksW3H3rWvLjxN8N0ju7/Uhr/hNJEjmeaJY7ywRm2q2VwkkYJUHgEDpgCtLxr8QYtC1SzsdM0q411jCby/8AsR3G0tO0uBw2ey55APtT/tDCU7v2Wq/mbf8A6Ta5Sy9ynFYaCqJ3s7u2m9/hs12fdWvdXgj8K/EO+Qvq3xHazdolXytJ0yJEU87jul3sTzgEbenQGmr8I/C9yd2vXniDxA/liNTqWrTvsHfG1hwc8g5qxefFXwdGUGn3d1rZMXny/wBl2zXHkR/35Nv3cdwfmHpVa9+LvhdCsmlxalrFlGVa+vbOzdoLKMjO6RiO3cDkc55BFDzuUfgqKP8AhsvysxRwWav4KUo+keX9F8r79DrNB8M+HNAaRtD0HTdNaXHmG1tUiLY6Z2gZ61d1Tb9hff5YXK/fYgfeHcc1W1LXtI0/w7J4gub+EaZHCJvtCtuVkPQrj72cgADqSAK5HwD44vfEVjrK65YDRbuyvI1SEyLG/kyKskW7efv7Dk9PTANYTxHPUUZO8n8zgWDxFWlPEW0jo7/d87XV+11fc7PT9W03ULy9s7K9hnuLCQRXUSt80LEZAYdsg1dr5t0zXvC0VnceKNN8UyaZ4uub++uIxb273slzbtKfLhuIkzt42BdxUjtXTa/8WvFuj+F4V13wDqdjqeoxtHZTwsBGXOFRipJaNskfI2T0HNQvbQpKrWg4xeqb0T69f6b23PWrcPVHWVPDO7vZp6O63tf4l10u0t0j0TwX410/xRrXiLS7OJ45NEvPs0jEkiQcjcOBj5lcY5+7nuK6gkDrxXzaug+L/h5JoepalreieGbe5tH065u7KyNw0eN8webzD87MQRlcHO1QKv2Xgbxz4kjh1fVoz4g06UEWNh4jvXRoOABcSRxAKxOWIjPKgj5s5zpQ9nFOOIqe8ukU5Pv5LrbfozTGZLh3P2tColSa0be7Wj3srtpvfRNeV/WdU+I/gPTXjS78WaQrSEhRHcrJyOuducde9c5F8X7DXNU/sjwLol34k1BQzyq0gs4o4xwW3yDJycYwpHPUcZseAPhPofh69XWdSgstQ1kKqrJHarFBbhQMLHGOMjH3zljnOaoeOtHt/EyX2t3hgSLTL6O3t5YY9s6hXQMyzrhlGWJ4PHNcmMzOngn7T2TlHXRvWyTbbs1ZLsm/XUxo4bLHU9mnKX977N3taNk2vPmiZXxA8Y/FbQNLtZLi38M2d3dLJLFa2izXc5VE3SbgQqBUByzBj04BzWtoHw90XxHFBqniDxPrPioT20dyrS38kMJL7sMsUZURjAIAB/vZFdb4c8D+HtF1JtVtY7u6vGh8lZ728kuWSMnJVDIx2g98da4XQfDnjFLm98AwS3Gl+HLW7aQ6lExV3tHYyJbwZ5Vssysw4VVUDnOe55piqcrwSintyrX/AMC31162VkaQeFrUnHDy5HHVyel073srt+7okk222/K3c6F4A8E6K6SaZ4Z0uKeMNidoRJMd2c5kfLnOT1J9KrXXxF8D6XrP9hy6za27xYRnVT9nic5/dmQDYr8H5Sc1Rn+E3hZU8zTJNW0i/O/fqFnfOLmUMcsJHbdvz/tA47c8102leF/D+l6Aug2ekWa6bgBoGiDLIRj5nz948Dk5PFY1a+LrO83r3bb/AMjhlLA/FUnOpf0i153blfyX3268h4I8fanrnjGKC909LLRdXtZZtDZgfNlEL7WL8Yy6neADwq55yDXUeLfGPh3wusa6xqCxzy48m2jUyTy5OBtjXLHv27Vz3xmA0jStF8WQWzMPD2oxzyrCCG+ysDHKox2wysR0wmKo+ArnSbCC88feMNR0mw1bWnR/386L9ig24igDE8HHJ6ZJwRxXGqlSEnSb13u+3/D7I7p4TDYinHGRg1D4eWL1ck9Fez+zZt2382ehaJqmn61pNtqul3Ud1Z3KB4pUOQw/oR0I7EVcrxabxPpHhDV77UfBvirwpqek385urrR5tUiikjlb77wSZ2jdwdjcZ6EVbuvjxof9iG50/Q9Wu7/zHi+zpHuiVl4yZk3KVz3XPQ8dM0sdSStUdn/W39XMqnDuMqSUsNByi9r6NeUk7Wt32fRnr1cC3xH0XS/Elt4duYytrHbwJPqUblre2nlB8qJyeQGCkhifQHGayNH+LOr3kKSP8OfEdzGXZTc6fA8sDgEjKFlViOO6isf4fS+Ih4P1G11n4aazqz6xdTT6g1xLBF5xc4A2yuGwFCgHA6cdKmeLU7Kk/wAH/Wprh8klQU5YyK0skueKd29XvbRJ6Pq10PVfGuvQeGfC1/rlwrOLaLKRqMmSQnaiAdyzFR+NcnbeKvGml6v4fj8X6XodrY6zL9mDWdxI0kE5jLIjhwBzgjjPI9xXG2Phf4mXE+mwTaTFc+HdIvftFjp2r6gi3HyoRGryRBw6ozcZ5IXBrd+Jn/CxNW8GXyXHhjR7Q2gW+iuINYd5InhIkVlXyRuPy8DNRKvUknOzVult+/T5HRRy3DUpRoc0J8zd5cy91PSNlzbr4nv0SPUZr6ygvIbOa8t4rmcMYYXlAeQAZO1Tycd8V53djX/G/jPVv7E8Sahoem6D/olvNbqClxe9ZC6niREGFwe5OMEZPD6N4c8V/F1D4u1eXQYrOdBZ2izWUjmCNWy8sKF8BmYsuWJzt7DFdx4b+G/ibQNBh0HTfiDLa6dGTkQaTEsxBbLESFidx9SDjij2tSva0Hyetm+3VeovqWFyy6dePttmnFtR/m+zJN292zXV+QzX9N8c+GlTxlL4mu9fls5M32lww+TbyWpyG8uNdx3rkPuJJO0jOOKnf4qWNz4msINJtTe+HnnitbzVlPyRzzpuhRR6dAxPQsB1rSbwFfMpVviF4wZSMEGe3II/781zmo/BfR7Xwjf6fp2taz9oCmWzae+KQwzA7lJSMIh+bncQSOMdAKcoYiL/AHS083f/AD3ClWyysl9cmnLZOMXFJPq0lFe7uvXW9kj0+/KCS03mMfv/AJd7Ec7W6Y6n2PHWma1qtho2k3Wq6jcLDaWsRlmk67VHXgV4N4e8J6LrUT6h8QLnULSA+V9m0i51uWSSAiM+ZMysxcb2+6oJIGPWta2+Hnwls9ct9Utl1e4EBBTTjHLJFK46ZDpk8443Y46V1wjjasVKFLR+v37Hl1qWTYWq6dfFO8d0oxfyT59+l7NX7mq/xknOmPq0fh3TTZCNplEniK3W4MY5GYcEhyP4OTk4q1o/x28A31vLLcXF/prxqzeVc2x3OBj7uzcCTngZzwa1jaaNKzHTfhlDIyAEPPYQW4Dc4+8Mnp1Ga2WPjG437IdFsRjChy8zZ9cjaPwxTjgsWnedRL1t+lmRWzXJpxtTwsn5qTX/AKUpJ/gc3oHxk8Ka1aGa0tddeRSRJDFpsk7xDJALeUGC5wSMnOKk1H4veF7G6trWWx8QieckiNtImRxGAS0mGUEqoHO3J9qwfF3h3xdoXir+29Fk1DWW1qE21/BYIlqfNRSYZHY5CrgsC3B6YySK3vBvw4iglutY8XvFq+s3eFPzO0VrEOkUZclsdSSTyf1yiqt+Rz1T1ai7W76tavt/T6qscvjD6wqT5Wrxi6i5ubZppRdlHX3nurW3dsa+/aB8DQkmzh1XUI1UM7wwKgUk9MSMpJ+gNTx/GvTZbu1sYvB/ioXl6pNnFNbRw/aDjI2lpACOnTPXvXby6L4QsrqOaXSdCt7gMJEdreJXBB4YEjOc96b4otfDHiTRZtJ1a6s5beTBBFwoeNx910bOVYHkEVDjiNf3iv6f1b8S4VsqvFfVpW78zbX3JJ6/4brTTc4vX/G3jnRrC/1ibwLp9rb20Ylu2l1pXKjbwMBevsOuRXCnxf8AFrwkz3niOaxtrXW3e5tDfb5RC+3cIEWMFkJGAFIxkdiTnpprSY3sFj8SPiFor+H7K4jeyiaWJH1LyvmVpmJ4IJXco4YjPfnurnx38Obny/tHizw1N5Ugkj8y9hbY46MMngj1rFuc3f2nK1tfl+d0vw+89CKo4eHJHCqop/E4+0tZfDyuTdnfWVvJPW9vN/D+q/GbUtcbRrjUNJ06+awjv0t7xCpETMVIBWM5ZSBuHbeB642p/Cfjba+oa9rHhuCC0gLyTXAuNQBCjJJWQxqoA3Hv+FVPip448M2+r+HfE/hvVLLW9V0yeVXtLGRZnlt5E2uCVDbcNswSRwWxk1nDXtD8TpJN488aan5EzHOi6ZY3UVqqfN8juIg8vBGTlQcYII4q1jpxbp+019VH72rfcvyJeTKrGGJ+rKMWtVySm007PljK61STvKyu97lf4YzeNNZ1yaJbzw5pL3lgmo2W7QgfMty5T5QGUgfKjEEt/rF6dK9Dg8G+J4YleT4k6mkqoPMaPTrNVzjnH7vIH1JrifGnj7TNO17wx4ytPDviC30+wWa0llmsHgjnt5I/kCseCAyghTjPB7VgvZ+MtWg1HU9N0rxtaeKdZkk+2p5awWS2p+VYt0uBuRD8rLg7iTj0w+s2vGUpTa83t/Wh2zy2VVqrGFOhB9HCGjTaabaukkrt92l102fA99qfi/xjc6TrPjTxMunMksmhzwTx2n29I38uV8xIpOGBwD2JPYmq3hwx65441zRm8UeLhpC28h0q6k1uXy7loDtn5A+ZckdOgGedwrW8aad4l1bwTY6Fonw71jSrvSfLbSrsX1put2QbeokzgrkHHsccCsvxmPE+h+EtDutC8DanpEvhpGSK6nureUNHKnlvuEcm4ksVfgY3KCRismnG3Mm7at2evl8tfwOqLp1rxpSjFzvFR5qfutbS0e8nyp+s+livd6bd3WsaprM1z4h8SeC9FvzZ3NnLq0skzMifvLldrfMELfdGCRz6ivRrf4efDa40iPV4rJzYSQC4W4Op3ITyiu4PkycDHNZfg2TxpofhSx8N2nw+nllUObq51LUoEhldyzyMdhkb5nY4G3HPauah+H/j37VJZ3Oj6dN4XEzT2+grrkiQRs2CVZhFl48gkRnCjdWkIqKvyc1+6ej+7Y5a1WdaTisSqahonGcfeivJStzPe7srPV6K+14Q074Q+IfEp07S9ClvjHA1xBNeGeW1uAG2P5YlYrJtJGTtwNwwc9N630X4Sz+LLjwtH4c8NHV7eFZntzp8QJU+h24JAwSOoBB71yfxJ1Pxx4el0fxxdeE9GtYNCZopUttTZ/MgmAj8sjy1wobaR97BCnHFZmjeH/iD4g8Px+I7fRdKh1a/1Ea3Z6k2pFXhLKFRPK8tgU8oBdu7kYJ5FCqKMuRQu9/htp/w+nyFLCTq01iJYlxg1yq9VO079XfVWs3bX3tEeu6rD4T8G+GZ76TSbGy020G7y7e0XqzYCqoHLMxAA7k1yVrZ/Eu7YeJLOz8O6Wuzdb6DPb5dkySDJMBlJcYGBlfXHaDUvC/xN8SXml6jr03hFDp7tLHp/l3Elu0uflkcBxvZQOOwyeDXReV8Vv8An+8F/wDgHc//AByul3m/haS2tp/Xp955UFDDw/iwnN35nJtq3Zadd3LfazWrdL/hHPGXiz5/F2r/ANi6axP/ABKNJlId1x0muOp75VMD3PY+HUl9ovie88DalK9yNOga40u6lLb5rSRl+UkkhjG3yE+mz1NWpLD4p3ZSGXxB4Z06Ldl57PT5ZJQMHgCRyvJxWl4c0vxRYayJNa8V/wBs2zW7hYhp8duEfcmGJViTxkdMcn2qoQ99SSd+rdv8/wAkYYjEJ0J05zg420jFSVmno0+Xe10+aV2nq9jpqKKK7T58KKKKACiiigArnfiXc+HLPwLqt14ugSfQY4g18jpvUx7hncO46Ej0roq5z4nSWMPgLV5NS0gazbiD/jwbGLp8jZGc8YZto545oA8JsfEms67qaQ/s6aDrEGnCb99qWpyvFoRGfm8uGQFj6futn0NesWvjjVPD/iPQvC/xAtdOt77XGeHTr/TpWa2uJkXLRsjgPGxB4+8p6ZB4rQTVvFGl/Cwa7q2jaZY6zY2bXN3psMxaFVjBYxI/QHaODyAfUc1b0yHwt460/wAM+NP7PgvvLiF/pM80fzweag+YehxgfhQBqeKtYtvDvhjVdfvMm202zlu5QOpWNCxH5CvG/D0vjLxD8ApfiY/iPULbxTdWUur2UcVwRZwRrueO38j/AFboUUBiwLEkncOMeqfE/RJvEvw48SeH7c4n1HS7m1iP+28bKv6kV5Z8P/Elhpv7G8d7eSGB9L0CbT7mJxh47mJWhMRU87t4AA6nI9aAPTvhT4si8dfDnQvFsUIh/tOzWZ4gciOTo6g9wGDD8K8g/aN8dafZ+OLPw5r/AIl8b+DdCtbZZpNX0S3kSOe4kOFjeZQflVRnAB5Yeldj8CFsfhz8G/AfhXxRqFtpmrXsAjhtbmUJJJPITKYlB6sN4BHr9a7r+2vCutSarop1TSNQeyBj1KzM0chhBHKypngY9RQBkfB3StN03wZDPpPi7VPF1rfsblNU1C9NzJKpAAAbsoxjHbnPNdlXkn7L2groPhTxDFYI8WgXHiO9m0ONs4FnvwjJn+AkEqe4we9et0AY3iy8fTdKvtSh8sTWmm3UyM8ROCqq33uwyBkd/wAK8Y/ZotfLni1O882W4/sh72eVpWcCWedyWbnAZ40jJ9gDXpXxhs7278J6m9prd1pyw6PfPLFCImFwPLHysroxx/tKQRu688cp8Grcto121qq28My6fp6xJySIrVGdjxwD5mfwPNa4mu8PllSot7r70nZfNsyxFLn9kujmv/JYyd/xPRh5y2AxkXmoPn/dB/wWrt9d6doOjS3l9cRWljaR7pJZDhVUdz7/AMyaoIFRru+uNQMFvaRtELiTYAgHLOcjAwOPp1rybxZqmpeLFl1xTPNpiTufD1i0YCS7U5vplIy8anJRSOSOTg142UYelCnLE1pWhH3bvsnq/WcrvzVjTFVp3VKlHmm9l/XRD9a1rX/i54hbwdp+k3ek+GImhm1O5uF8ueSMgOq45C7sqQOpGCcDIrvfFvjTwr8N9P03R5Y5jI0IisLC2Xc7KpVACzEBRz95iM4PJIrxTQfGnixbdY/h5p7fZpGd7y7n2XN3qNyCN78jO/kkKeMAdOh5jRNR1PXLjxNpXg9Z7zWtXuvI1jVb6ETJp1uz4RMMDuupGBITogUZA28d+Kz3CTXLR+GGtrPpu5a3TeyVr26LS/s4DhepgovE5k7ydlyprmu3pHskldvvZq6ey+LvHXir4o/EW303wpDDbeIbSUW1mYrxjbaWC2XmmmQcswwgCg5wcDsfRfhV+zdD4V8Z2HizxD4iXxFqVs7TtNNbsHaUgbcFnICqRkcZ9+gHcaV4F0v4ffC+00fRY3SHTZobuRgF3vIGHmyM3VmILHJPoBgYFd7MGhtGnl1OSKNYstIyoAvOdx4x049PxrhoS/e1YT0TtNq7630eu0baK7+9s2xWa1pRj7GyirxSsnZabX1u73vvdu1jyfxH4gi8E+L/ABvNJKwbVdMiu7ONYWjeW5Vng2RnueIyT6tnoRXQ+DLPXvB/hfw9Y3UdhHaKYbe4hhDPJvkHzSFmI5Mh5GDjPHpXN+IPCeq+OPHXh3xFC8k2iW+oSqySkYWFSJNx5BO6RcBcHGBngV2HxM1jSdM0YW174gij1B5YvscBdBK8qMDkKBk9QT2HHSuJxrYilUxFLmtG7jbqvib80+nluduJqU3SoYeFpSmlz9bcq5IryaSbfqbXiu4nle10K0EPnajvWR5U3rHEB85KkYOenPGTXC6D4fX4ZSahpelme+l1hV+xXEqgujqdoiPGAihtwHQc+tRweJPGHirVVuvCWk29rNBFJB52ryr+7R5B+82RZ3cLgKSD3Oe+i/wxvvETQT/ELxZfa2YyGFhaILWzBwMhlX5n5HUkcdq9H+zHi3Uqzr8jUuVW952WkrJO1782ra1t0SOGhWWGo+ynJckknJLVt3utum3VFXw34i8E+Av7QtV1vTG01kinWS0dZS0zAhkxGCSzFSQvP61dTxd4o1K3MHhP4ZXsUEqgmfWJI7OLLn7xjBZmGOT0b2rWl8DWmnRWknhaHT9LurXGGWzjRX+Url9q5Y4PerK6lfaVqYsfEGqRJDJEzwXojWJGbABRsggMOo55HWrw2JwuVt0HSbgn7spP3Unqk7NPe63atYzqVYV26sVzSe6bd9Otlb13+R4x4g+GOsaZJay6z4jKQPNJNBpOlIxtbAbwzMokyGQHacFQM+1W/G/hHQvDfiWW91i6utdju/D1zNaXmtE3gW6hXK8HhhsZiA4IBxiu+1bX9MHiOa8uLqS8sliSxR4Qrhs/NM3TbtwVDEeo5rl/iL4em8U+BdO0221GGK90jUBaSEzIpNqx2M4JIyNhQ4zhgh9q41j8WqkqtK0YTb5OVKOsPddmtXe8ra7I9nAZq8TiY0MTU2Vp+Smrp/JpX79Tr/grJpVv4btNEtrIW97Y2UPnM4G+QsoZ8nAIw5IIPTiu+ljjlTZLGki5BwwyMg5B/OvH18VeG9MgtbweJLCDWknuJWtlie4McbnmOQRAsvJBG7HPTjNaFh8Q9ZW3jN5oGsy7wGWUwR2eY1ALSbZyCc5x8pPA4ArlwGbqNGKxT32fSzV0nbZrbXe3medjssxVetKvCDXM29dNetm7J99zpPEtnD4q16LQpCfsWn7bq5ZTyJv+WQHHUYLflU0+gXMsezXvEdxPZJhURSIN2TxvYfeOcDt271zWjaX8Rr1me01PTNBsrgm5e6MX2u4uXkGRlG2iMKMDGSffsMzxR8PW1jVrLQ9R8Uazrkot2uXF9Mvkx7RgERxhRlmPBbOADg9c74LArHfvasHeeru2o8vRNLey8nrfuc+JnTwlNKVZabKK5pXfbaKbf95WW+x1eq6tceD5Ba32pC8tbmCZrNrhx5ySIudhI5ZTkc9u/asu68SeFbD4eLpP/CR6bNe3lq6oiXKu8szjcRgEkEk96g8MeG/Aml+G4vEX9l2Npc+QYZT5CSOJQ2GCKwPzEjAHoav2fhi+hsbzV7K10fQpZYpNltFpcQkSIjOx5FAOTjmtJZNiIe1c5pRs4q93a+6T3ey9Nr2sYLM8A+X2anNu0tFGN97Nq7S++710Jrf4k6ZJDbw6XoHifVJmUfJBpUiDaFyW3S7EI+h5zxUFvr3xF1PUXbTfA+n6XG8St52q32GKgttUiJSQ3fbyBzzyKbHr2uaf4PtdmmXcTNbwRWc0flyxMdo25H3gW6EEcHABpbDV/FsmoWum3TWthqN1bM4e4YFWAY7cRj7rjJ+oHI44qNepaMXzN8sZe6k97+r6PsafWcJG7hSW7V5uW6/8BXVW0Zci0/4pTKZZvEfhmzdmJ8iPTJZljGeAHMiluMc7RTB4M8UXqRrrXxG1l0Ll5YtPhitBnnAV1XeFGRwWOcc5pmmW/iPxPNc/a9e+z6dBcNEGsU2GYrjO1uu0HIyc5xVbXtG/s1FubXxLqV7FE2Lm3OoAS7c8lMYG4YPykc/WtVRxEpcvs7eUp2f3LmX3teaRH9rWi5U7W7xpxdvRtKXzXqmy4PhP4MlhZdQttS1OWQs0013qdwzyknJLYcKfyrU0n4f+CdLlimsfDGlpPFkrO8Aklyc5JkbLEnJ5JJrktX1zw7YadLdeH/Gs8+og8WxvfPZFYjh4zllCjPOM/XpXMnxBbGWOSDULmXUfNDPewJO8zgdQqOiAKeDtLHGOBTp4fEvWOHjp15lrbdLS7a7NL1Cvmlb4KmInZq9vesk9m9eVJrz2PaLjT9Ft4HnnsLCOKNSzu0KAKB36VR07xL4a81bO0uYYEYnyz5Rjic99rYCk89q81fxBe3Fin9sw3GpTwYMdvcTQ2yjdyJMSH94cYxkYGT1roNb1rxFdeFvt9zoNjFbSyrsgurmOXerfKAoUYPXcCGz/ACro+p5lKekI0+ylZt/+Auy8vifW3Q8z+0MI6fM5ymutr6fev8l5na6p4g0nTspNdpJPu2rBD+8lZv7oUc5rOsPFmgwaUn2m8S0kgjVJIHiMTowXoE6jpwBn615S9h8QLi6TT9LFvpVwxKPBFaNHKsQYnzPMwFxwO57Dmu4074dQz28WoXWuXc1/JHvMq7JIyxUYPzAlwPXPI9Kp4PGLWpVjHy5XJet7xbt6JPp5S8TSaXs4OX/byTXk9Grvsm2utuvQweNvDc8PmQ3xdi21Y1iYyMfZcZPWsy5+JPh+ObyvJvJEbIEhVEQ+v32GPxxXKXHwkv7q8mt73WJrqyllSVnkuZFjIUAbDbqQhPAOT3Arbu/htDHEml6f9lOnyw7J5bmFZJYyDxs4GAQACM44rFyxOEk5VUqsXolG6fk3d2t3Wj66WOicaFeMY0ZShJayckreaXW/Z2t6lGT4k6XpRXRdD02ytY7eFRBavKqHb22ImRtHPQ+lVIPiXrt/f+VaWo2bMkWtk9zg4yAW3BQT7kV2HhzwWunyWtze3izT2+THFFAiQoxULuxjJfgfMTniliT+xPF727TmG21ZFkWX5QGnj++CMYBdcdMdOOa0pYTFqLUa65t9Ippf3Y31slu2ru2luuNXE4eU4zqU5cu2s7Nt/alZdXpZP1b6civivWtSlsoJJtYV7+UJHBDHDbZAIwQwLkA85bdjt6024j1271S80+38FzandQmMGbVNeOxAehZAAWTr0zn9K6jTdJj8Ranrl7qEjz2jObK3V0XACHJYfKOjkgfQ5zS3Pga4kuYZIfE2oRrGgjDFR5xQfw+YuMjjjIOD61pVpY6mly4j3tOZWjGO3Rxi5Jrzv69ow1XCubnPDKcXe13KVteqc0mvR9du/LXN/wCKtMW+so9A8IWz2pRmns45ZooHcEBnBVTwBngGr9pH8QNVvNThtfGlnKIIY/Lls7BI4/MIJ2jfvySMZOcdBgcmrmrWNt4atZYm8dWul2Idp7o3rxLIgKHe7OSM8c8jjr2rml8cfCvw/pUj6V8ZtKiSJvN8qK+t7sseAQIoxvcn0Xn2rzZZbi6817fE+69XZyTXZJpK62u327SsvS/tWFKMlRwyW1tIa+erdttr9fIuyprqwy2uu/EbxHpUxRg0b6faqXHfy5Ej5PPBBBFVdXi0SxKKni34gTvu/fRnVXjeJOPmIcDPUYH1NZD/AB98PLmP/hK7KYny9sw0e+QR4PzZQwEtkehGO1SaR8UPB0091NpWl+MvGN0/z3WoaZ4Vmmjjkboo3oCpCjgdMH8tv7Nr0k260Zdrpt+raktvRX2t1H/btWo1GEHDvZRivu5db/O3fob+ieEdDvr+KPxXF4juri7X/QZb3WJZUKAFgqtGy4bByQc9OK6CT4YeAo9vmafcJvYKu7VrobmPQD97ya82XXRfXMK6Z8OfHslnaMCP7btRZRsX3bbaJJWUksQMMMgEjcQKnutU8T2NlMw8HX/hdfOimsotTuoJVe4RGBYCBmAU5Xd0749uSp7DBUa7m+d07NNxSbTtu11vfp0NoZpmVedK05RUrppTdk1fp2269Tvr3wD8ONEtnvr7w3b3SsyRg3QkvWyTwFEhYjJPbGarWXh/4azXcVrdeAdO06afHkC60qJRKT2BAIz7HmuT1x/jYn2OHVLrwPe6nKzTaVFZWdwI1lA6yl5OVVWO3GCTyTxymtp8WLnVZF8Q+KNEsLWysxeQWtnpJD3Ei8FxI0jbShKnAPzElcAEGnWp1eWtWoqPLS6WWuik/PZ6W673Es0q89OnVqz5p9eaWmtl5dOr9Du7jTfAng+5a4Hh7SbMzyJbqYNPRGweSSe6jAJ9PrWt4hn8NaFDby3+n2irPMIl226HBPc+w715pY+CfiR4l02K+u/iVb21+8LxTSy6BBMZrd8FP3W8CE4z0JJz17VdsPhx4j1iS/i1fxt4jsI7a7dLN7dYA3lFFBjXzImHlYA9SSWG7tX0sMNhox16b2637enU+fq5hjqs73b5tm76W7+q2PSb+50Hw/bpfTR21mkrCISRxAFiecfKOnGfwrTnmhgiMs8scUY6u7AAfia8ptPg3a3F1exazreuTWIvI7m0RNTk4K44I6IpwAUXCnnjpiHw18ILM67fXuvJeXQ2TW8T3OoSz5RznMSsxECYC/KuMkDsBQ6FBLSe2/6W8+/r5EfWsTKV5Q328rb3fbt6eZ6B4i1jwadPCeINW0IWbSqQL25iEZdTuX7xxkFcj6VB/wALD8AD/mePDH/g2g/+Kqhpvwu8F6fI7Wukrh2UsskjSggDp85OMk5yOfwrmdS+GPgTw3fwXsnhjQbixvHEN7Pd6bbyPHIWJExZ0IwSdp475rONKnUfuN381v8AP/gGssRWppe0S5fJ7X62t9+poy/Hr4OxyvG/xC0QMjFWxKTyPcCq998evg3JZTxj4haGS0bL8xZxyO645HtWrHa2XiHyvD+hlLfw7aoPONvAIoynRIIgFACjGfTGOtTanDrfh+yuYytxrGliMbJFdEuIgAcqx28qePmHIHPvVfVns3aXZ6f0/Ij62m3JK8O61/Dt5mGfj54A+xi+jTxLNZNyl1F4evHhkXOAyuI9rA9iDzUbfGlms5NQtvhX8RrjT13FLv8As2CNJEUkbwskyuAcZAZQenFdXZ+GLjUcX/iO6kmumVglqNpgts9MLjBYDqehz0qSHwZarexPPqF5dWNuQ1vZTsHjjbGDyck9BgduR0NL2dFaSnt5fl/X/Bfta71jDR93+LX6LX9PPNc+KV94o8Ovp9l8G/FN9a3+YZRq9za6falCpJzMJXKtwMDAPPUcVbu/iF8T9G0xZLj4LW9raRIFTPi21xgDhVG3k4HAFegS+EdGluGuZLWF52UBnMCfMe7EYxkjg8e455qGw8F6bZ6h9qjuLp1Tf9ngmKyRW5Y5zGpHBHako4e/Nd/cvuv/AF6Furi+Xk0t6uyfe1v67nnWj+NvjZrl4Y7Xwp4J0R5SzQWOr6jdi42KcctHCY2Pf5T0PIFbE998foImmm0v4XRRqMs76regAe5MFd3ruhnVLeNWv5op4JUmt5hGhMTqOvTkHqR/KqB8Hw3Eizatq1/qUoUYWcr5Sv8A3hHjHr1z170ctBrmu15bv9ETzYiL5bJ+ey/VnKWmm/Ha+iN3ceMPA2mNKxZba10ia8jRP4cStLGWyOfuj8etbvgzTfiBZ6+ZPGHibQtXtjbOsKWOivbOj7kyTIZXGMfw4GeD/DVexbXtNml8J6cs3mRzFra5eMeTHasOCSeSVOQAOpx2BFbWhR67aa2LPV7lL2FbZjb3KsELYZc74+7YI+boPx5dTDcib5l5d2u//A3FSxXtGlyvz7J9v+DsdHRRRXMdYUUUUAFFFFABVHX7WwvtEvbTVGVbGWBlnZn2BExy27+HHXPbGavVzXxRsU1L4fa1ZyfZTG9qxdbqURQyKpDFHc8KrAbSTwAaAPnXxvr0OuabdeHNS/ae8PyeGWQpcxQWkK6hcwgcxGVWCkkcbgBnuOa+jvhm+hSfDzw9J4XjaLRG06A2CMPmWHYNgPvjGa8d8WWNhH8ObfWLb9njT76TVrV4Tp2n2tpJPZSnIjfei4MbDB3p93AODnj2X4dx61F4C0GLxHFDDrCafAt9HEAEWYINwGOOuelAG9WLN4T8MzasdWl0HTnvjIJTO0Cli46MeOWGBz14raooAz9V0PR9Wu7C71PS7O9uNPm8+ylnhV2t5MY3oSPlPuKzLvwH4Lu9ffX7nwro8uqyDEl41ohlcf7TYyfxro6KAERVRFRFCqowABgAelLRRQBwvx2uJrb4X+IpopJY/wDiVzruQDHzFFwW6gkEjA4IznoK5v4AsyfD6z1Gdne4ZZZ5txAG9QsKAAf7MYFbn7QSq/ww15P3YdtOkAJB3Y8yLOO2Ome/THesfTbs+Gvg9Bc3TBXt9OiUEZ28gvjI75Zfzrhz/EOjlcIw1lKb084xTj98tAjGLrU7vpJvsvhSf3OX3HIfE/xRqOp+JU8IaTDPqOl28AbVoIJxGkw3Ane+PkTeVBI529+aw9R1nxL430W+1aF5dKiuTDpRhtog4keR0RbSMtkquwtIxGAdwH8WK5z4f6p4o1C4vbLR5VtbjXtTgt7i9dfMeReSYkVvlwqlnc56bBxkZ6L9ojQNW8I65oWmeErpA/ii7gs4VmYDZe8xJOQMZ2iXeOoDLk8cVj/Z2NwlGhTlaULOyWtntzNW1VmnF30UVdXPrsHPLsJiG6iUasVGTbve9lLk/lTtdWtfmd76nZvrP9qrH8LPgsq2yWLNb6v4lWAm300DAlETnia6YnHBO05JPHHdeFPhj4d8LHS4dDiaG1sgWmVzve7nzkTysfvyZJJY+2MAYrU8MaNo3w7+Htno9jGsWnaPZhBtTaXKj5mI/vM2SfUmm2njC3jjQa5p95o8zpvUSxs6MOOjKOvIyDgivTq4D65G8481mn53Wvq/P8T5CeYeyqNynaTvd+vd+ZseI7ZbzQL+1YMRJbuML1PB6V5p4g8dadPDpek3Zvr/AH28ZlsdPg8y5vpwFzGAMbUBOWY4HbNaHjD4lT720/wTp7arcxmM3V7LE4tLZXwQu4Y3ytuUKg7tk9CK0NC+HWnWci6ibq9t7+4t40vDBIEMmMkrvA3Bck8AjOBnpSr5M3iIVcU7U2mpR6ytZxT7Rd3e+rWm0rnXSxccPFJw5pP3o2a0T6t9L9Pv7HFTza/4m1MReMr3UNC0jzmjfTNKmEZtlcjYLudeGzgjauMA5JzxXRv4N8M2OpyaH4T0q3tL14zJqGpMxmniiOPk8xyzlmxwM8Cu20jStNi0WbTIbaAWjPJG6Ipw3JB3Z5Lccn8qd4Z0Oy8P6d9hst7KWLs8hBdyfU/pXrV8dCpSdOOkbW5Vonfq/wDg39d78MsRjZtRclGD1tHS3l537vXfuref/C7WbawstenmVIhFGlwdq4TABGPXJOPzrbi8O3Z8NLrMctwfEDf6blpnClyd5i2A7cY+Xp+VN8QeFbGzuLK+e+gstOhllk1Gadlj3IX80bm44DKB7Cmv8SI9Vla38EaDqHiV1HzXCD7PaISRjdLIBnrn5Qxxzg14uXSWW4KlTlO9R6y83d39bttv5G0sur5niKkow/dx0T0SXZ3dkrKyV/MbqXiTUtZsTq2hGSHT9NVZ7kngzSAqWiGcEhVLZ6ZOKreO/iNptu9np+gLBruoSHzXtbeI3LKnAAITIQksBuJAGDmnW/gHWdet3bxrr0iQzK3/ABKdFY2tqm7O7ew+aUnPO7jrwetW/hR4Y/sEX8kmm29k6sLSLyoFj3xx9HJABYtxlu+BXY6jrwbjBRjHpLVu/lp67/IFh8PhJqNWpKrOW/J7sVb+87vyso69JdTntO034i+JtTlvn0+x8H2k0AgDyKk9ysZJ3BI8bVZscl8kcAA9Rma38OdE0ee4tbqUaiItNeeCW+gjuJDh/mX5xx97grg4HsK9nvr6zsYHnvru3tYkUuzzSBFVR1JJ6AV5b438Y6D4oS3tvDb6lqckBYz3FnYyyRxwsCGBOACWwNuOvY189nLcMP7SL5px1Sdu1mkttm+nz6nuZe61VuNCDhT6uN153c783Tq7dEuhs+F5pLzTrTS/D1iNLuIolTUr14PmiI/gG4fM7deeADW1L4G0O4gVbw3t1Nu3NPLcuXY5yeM4GenA6fnWSPFHjrUIVXRfh7NaF4twm1i9jhUE42/Im5ieclTtPGM56Q3Gh+Jgq3Xij4oPpxKgCPTreG2jViSSC0ocuOw4U8V6alCeHWFp024WSatv63tf06fiee8udOq8Ri68VK+mt7eijzW9Xa/4G7NoOoaTI0/hq+WKN/8AW2t67SRdCN4Y5YEccZwcVk2viTwpoN3PqmveNtIuLy9xGHSdQiIuSEVQTgc557k1zyeF/Bd+8SLZ+IvGkscWC95eyyRx56sDIyqpbb/D17Cuk0jw3eW80TaV4c8O+GNsW154LdJpmX+5wq8cDOSeld8vrko2nyx7t7/NbnDGOUU5c1OU6ltlFWjfybbX4aGFpniXwu2tSapo/h/xR4hkmZrmHydMcR2wYglkMxQHcTnKk/gK1LjxR45vI4/J8HaZo9vMG/ea5qqoHXsuyMMwYjqCCB61tS6HFF5X9seKdSc7cKpuhbqW4yQEwfwJOM1zMXin4HaddPFN4y8Fm5jLRy/atZgdw2fm3B3+9kc96zqQ9p/FrN+iVvxNaeKpUVbD4SK/xybf/ktkYUOo65/Y1lZxeItHMSTqYbCOwklnhZXyCWD/ADKCM4CgkYAx1q2+k+MtbSEXer63qCl/NdTptraRcE48tiDIvXjJz655rPt/iL4ZihtF0WHVdcS01E36W+k6fLcyC0lD+SyKBllIJPGcAc4yK07X4ifELV9RZvDfwb1JEkhV/O1zUY9PzGGfblQJHDHnCsikc57V4XD/ACRjzpO8VCPxO11FPpbq/u0O3NK9apF0nyqMr39yN7NtbtOzt13b1vsN0z4S6vd2iRa94s1X7PvaRbKK6cJESSRjaQARkjuOtbmk/BzwTYzR3Eli1zOoO95CB5hPckDOe/XrWfPrPx41B4rex8E+DNDbcTJdX2tS3se0A/KI4442yTjnJA547hdn7Q3/AD8/C3/wHv8A/wCLr3vae9zRST72V/v3/E891a0oezlUk49ru3/gKtH8DR0HwPDY+Ori4+wwDT4QZYXKlmkLDAQ54OzB9+Rye3dx2dpG4eO1gRh0ZYwCK8uh8E/F3WGjl8S/FqPTImkeSSz8O6PHEU+8ERLiYuSoyCdyZOMZ71NB8FdJ8oG+8a/EG9uWJaWdvEtzEZGJJJ2RsqL16KoA9KutialZpyfSxyUMLToJqK63/r0PS5rW2mffNbwyNjGWQE4rzzW9W+GPg3W21DV/F+lacLRtv2Ca+QiCZ/4hHkspxjsAKrT/AAH8DXzRLrlx4m1+1jfzFtNV1+6uYN+0gNsZ8ZAY4PvXReFfhf8ADrwu8Mug+C9Ds7iB2eK5ForzoWzkiVgXHBI69OKiFacE1F7mk6FObTlHVHNyfHjwVcRFvDtj4m8UO03kwLpGjTSJcNu2ny5nCxEA5yd4HB78VEvxU8USW9vZaN8GfHlzfHainUorWxgIA5ZpBK4XpwNuM8cV6wiqi7UUKPQDAqvpW3+zLXZs2+SmNgIXGB0zzj681manm3/CcfF3/ohsn/hU2f8AhSQaz8etQ8y5g8EeC9HhLlY7XU9blkuFAA5ZoImQ5OcYOfUV6nRQB5dDY/Hu+eWe517wFomXAjtYNPuL4BQo+YyM8RyTu428ccmquo/D74o+II5k8QfFiC2ibaEttL8PW4hAA+8fP8x92e4YewFet0U02ndClFSVmtDyKL4IR3iyR+JPiD4x1O1kmV30+2vjZWboCDsaOLnkgksGDHPXPNXP+FA/C/8A6BOsf+FFqP8A8fr1GiiUnJtvcUYqKUYrRHmlr8D/AIV6e8TR+CbK9ke4DvNfhr6XhcAGSdndVGBwDgHtya7aPw34djkWWPQNKSRWDKy2cYII6EHHWrl9t8203eXnz/l3A9drdMd/rx1qzSKCiiigDA8fbk8OPdI2JLSeG4TIyCyyDAPtWZ8RrOHVLzT9PkDHbDcztgH5AsfDf99ba2vG0P2jwlqahtpW3aUHGfufNj8duKpwzG48XaTM20PJpMjsB2y0Zr57MafPWnSe0vZ/hN3/AEPSw0rU1Ltzf+kr/gmB8Om1TVPEcmqauYHeHT4lhKkHCuchhjgEhWz057V2PiDRbDWbUR3lrFPJHloS/wDA2ODx29qxfhto9xpNnqK3Ue2SS8cAlCCyLwDz1B5I+tdZXblHtZ4RTrK0p3uvXT8jmxcKcavJDVK1vz/MwPAc8lx4ftnkEmVhSIlgCCUBQkN1OSueelb9cz4MjSy1XXtN8uON1vDOoVSMxyDKn0wORx6Vt2OqaffPOlpeRTNA5SUK33T/AJ79KvL68fq1OM5e9a3q46P8gxNN+1k4rTf5PVFuiq/26x/5/Lf/AL+iuds/iB4Umnvo7jWLOyFnL5bPczpGjehBJxz6de9ds60ITjTk7OWy7nOk3FyWy3OqpskaSIUkRXQ9VYZBrlL/AOJXgOyCGTxRp027JAtZPtBAHUkRhto56nFZVt8XPDdwxEWm+IDhA+W09lBUjIIyRngg1tWi6EfaVfdXd6L73YwhXp1JckHzPstfyPQUVUQIihVAwABgAVDqG77DPs3lvLbGxQzZx2B4J9jxXFWnj/Vry1ju7TwBrstvMoeJzcWqFlPQ7WlBH0IBrG8RfE7UltJbaHwYwkYPHIt7qcCqOCCP3TO2fYgd+aqpT9nD2k5JLu5R/wAyY4mEnyxTb/wy/wAj1WivJH+I/jS5jgZPDOlaLBK2ft19dyTw7dpIG1EUkkgYIP4VFeePvGUKqIdS8FXUjHCpHBdLznuzMAPqa5vrOFvZ1o37Xu/uV2ac1S11Tlbvay+92PYKK8pv9d8RNPZt/wAJxpVk1zu80Wtql2kGBkKUDZ5yRnJ6Dr1qjpt1rUuubv8AhPNc1KJW+dbawXErHLExxhfkQD5fmYnPNZ08SpwdovnvZQs+Z6X66JWad21a+uuhU5KE0m1y2vzXVt7d7t300XoeyUV4xJpkiXN3casfHd4hJl+0QXlzagcnIMe4KoA/u8UyGz0y/eK20o+MpruckRpJ4klAXHUuFkLKB7gZrVYvCRi/azcJLeLSUvkr+95ct7kfv5SXs4cyezTdvm7afOx7VUEm77dDjft8t84Ubc5XGT1B64A4POegrxNvC+iT2rRy+DI7vVbi4e2M13qcs1z5+MlmDDkAYPJ6d66b4V+G7Tw34luLJ9H06x1BLLBlhMjSTRll5ySVxkAHgHIFQsdgpzUITburp2VrvaLfM7Std2auuurV6VPF2cpQSSdt3e3ezirrzT9Op6bRRRW5YUUUUAFFFFABXL/FrTm1f4ZeJNNj0yPVHn02ZVs3dlE52khMryCccY74rqKwviBYanqng3UtP0fV20a+ni2RX6nDW+WGXHuBnFAHkmg63+0dYaHY2MPwx8HJFb26RRqNX2BVVQFG0cDAAGBxXq/w2udbvPAWiXXiSEw6zLZo99HjGyUj5h9Aa8b8V/DHxLbeGdTuG/aI8TFY7SR2E80KRkBTkMw+6COM9s5r2D4V31tqfw08M6hZ3FzcW8+l27xS3IAldTGuC+ON3rigDU8UaxbeHvDWqa9e5+zabZy3c2OuyNCx/QV434fufGviH4CzfE5vEN9a+J7mzl1eyt4pv9CgiXc0duYfuOpRQGZgXJJIYcY9S+KOizeJPht4l8P2xxPqOlXNtF/vvGyr+pFeX/D7xHYaf+xrFf3knk/2Z4emsbmNxh47iJWhMZXru3gDHXkUAenfCzxZD45+HeheLYIvJGp2iTPFnPlv0dc98MGGfam/EHX7nSdMay0fy31y7hlNmrjKxBFy8zj+4gx9SVXvXI/AOOz+HvwY8B+GPE9/baZqt7AEhtbmUJJJPIWlMSgnlhvwQO9ZOr3Hxa0++8U6gfh1pGpi7E0UF8/iQRGOzUN5aLF5J28EsRu+ZienGADo/wBmTWNU1/4F+GNY1q/n1DULmCVp7iZsvIfOkGSfoAPwr0ivEP2Lr3xDP8EdDtdS0K2stMgtm+wXsd95r3eZpd+6LYPK2nA+82favb6AOB+Pm7/hWOujLY+wtkbwBnzIuq9Sfftz6ivEvjL4i1CTTfC/ha1ieaG7sIJpbaPG6eRtqRoDjKn93nI/ve1ew/tFt5fw9ui11NBG4ELLHArebvdAEZ2HyDODxydvtXlnhjSbfUvjve3t1GxsfCVnHNw2TI0EarGTx1Jy3HcVHsaeIxmFpVo3jFzm135VG2ve9l8zsyypGnWq1ZL+HC+qTXvSt102Uummh3fwf8KQaP4yOnY83/hGtKjgkk8vAN9c/vZ2z6hAigj+FgCTisOwsH+K37QWu6z5ipofguBtJsbhFyzag+GkZSRj92Bg9/n64bhs3jtfCXw48XeLreaS41a+e61FAVLKqcLESzAbgm3ZheO3avQfgN4PuvBnwp0DRrq4l+3+T9q1EuoLPcTDfIGOTkhmPOecenFerjHOjUXS1kvl28r7HiUayx/PVm7uTcm+7lf8l+hsz6JrmpNbQa1qdlNZRTLLJHBbMjSleQCSxGM4PTtWD8Q9Yu/EOrD4c+GbpkurlD/bd7Em7+zrRlORknAlf7qjkgEtjgVc+I/iTUNEtrXRtCuVvfE+qFIbC2aMHbhv3lw4A4RVyTnA4wK0fBHhL/hGdLlhXVrq9v7yR7i/vZlUvcTsAN+P4QMAKo4AwOaqnN0oKvUWv2Vbr/M12X4vyTPVw1CGFj7Z6t7X12669F07v5lODwPHp91YWulypFokLxSTWjD+OJMKVwMHPBYHuM12dQCGfeD9rfG5TjYvQDBHTueayPEus6d4b0z7brniCOxiI2K8ipud85+VcZZscYAPHNefXxMqi5qj2/rU58Phb1GqUW5Se2+vka9ju8uTcWP71/vOG43H06D27dKzvFviXSfC+lNqGq3G0dIYEG6a4fIASNOrMSQMD15rhZ/EHjDW7aS40VIPCeg73mk1fWYVjcxsescJIxxlt7kZz0Awa5/QzYyao2peDNK1jxrrzt8uu6sm21iIxkpK64A5xtjGQAcEA5rz6mK6Q/r0W7/LzPocNkr+Ku9t0mtP8Un7sfvcv7p2Gk+E9T8V3cGv/EBUeNWaWx0DaGgs84CtIf8AlrKB68KScV0PiTxd4W8KRxW+q6pa2blQIbVBulccABI1BY9RgAVgnwb4u1iJm8R+P7+Aybc22ixLaxpgk43kGQ9hkFeByKkstE8FfD5DNbrDb3Dld7lBNczLjGCxy2CwDZ4GaujSqyfLTjq+r1f3L/NWM8bicIvexFW8Y7RgrRXleW3ryyb3bvqMTxV431z5vDXgk2VsVytzrtx9n3fKCMRoHbqevTg8g09/DnxB1QbNX8dQ2EBVVaPR9PETNzlv3khdlPYFcfSuL1T9orwFZFbWPW5b27eFTGtl5d0GYscAtDvCs2MbTyODjmrWl+IfjR4tt530vwxb+G7dldoZ9cfyXIOCmIkDuODyHCEYweenT9Qf/L2f4/pHU8153GP+7UEv+3bv756fdY6SbwF8O9EVLzXol1Cfn/SNYumuHZidxYK52gk4+6o7VNr/AMQfD2k2i26sLOMR+YrXEyWKLGoySvmkEgYxwuOetcq3wf8AGOo6tc3uu/FrUgkyMqrpGnR2kqhsAjznaVwMAgFdrDJwe1aWl/Av4Z6HZyND4V0/ULhowj3GpWi6hK7bs7/3u75uTkjGepzitIQw1HSEb/gvw1/E5a+Kx2Md69R2+9r79F8kc6PjT4d1qMz3Gta3DYjdsXRNBvZhPjjIuPJ2sMggbeD6mpNK8V6rdXCT+FfgL4rviIVaS4166t7NxnoEMsj7sjJIBGPTmvaY7d48LHOUjDZWNY1AC4xt6dM80gguNoH22QnaozsXkg8np36fyq5YibVouy7LT/h/mYRwtNPmkrvu9f8AhvkeY23/AAv7VI4MxeAvCkXkbin7/UJAx24QgeWi7RuyQzgnpxzSL8L/ABxqRgHif42eLbmONCdmlW9tpp8w4yS8UeWXg4VgeteoGG4OcXjj7+PkXjP3e38P696UQz7gftb43KcbF6Acjp3PNYHQeb6b8BPhdbeU9/4fk16dIvL83Wr2a9JJxufbKxRWYqCSir6cDiuvsPA/gyxs4rO08J6HDbwqEjjWwjwo9Ola/wBnudm37dJu2bd3lr1znd09OKd5M+8n7W+NzHGxehGAOnY80AcN4dt44fiRdaZaRx29np/mTxRIMKvmJGCqjoozzXcx7vt83LY8tMAuCOrdF6j69+PSuY0nS5I/iBq10t3Jv+ywb2KD5yx59h/q/wDx6t5Le4+3XH+mSAmEAN9nUclmx82Pm2+nbqetePktGVKnU5lvOf3J2X4Kx246alKNv5V+V/1NCioPKm37vtT7d4bbsXpjBXp3PNNFvc7Nv26TOwLu8teuck9O44r2DiLNFVZVkj+aTUDGpZsblUDkcDp2/XvWFL4v8KwXDQz+OdESWN1WSN76AMpXhgRnIJPX09quMJS+FXInUhD4nY6eiuCufid4HgaSJ/GcRK7o/Mjt2dC27ghlQq2OnBINQp8S7C+l/wCKe0/xDrqtOVje10/ZA4C8gSybVAB55IOeK2WDr78j+635mDx2GvbnTfk7/gj0OoNO3HT7fcWJ8pclnDnp3YcH696811H4katbqYI/DWoJdho4yLu9tEVTu+YtsZ2GR6Kfw61QsPHvj42Ua23gN7lEQp5lvd/u84GMAQcbfT881qsuxDV7fiv8zGWaYWLs5O/o/wDI9goryK21L4w6081xDbw6IhdUgtnsllAHdpJHZDnv8qEfSrEXhT4sXm+4vPHv2SV2/wBVBDGqKO2Bsb+dN4Dl+OpFfO/5IlZlzfw6Un8rfm0eq1Hc3EFrA9xczRwQoMvJIwVVHqSeBXlE/wAL/Eupuo1/xbc6kjyq0yyXUvlSIMYUwrtQgEZ7EnvVmP4JeGWmE1yx3qylVgj2x8c8o5cNz68e1H1bDR+Kr9yuH1rFy+Cj98kjvf8AhJPDv/Qf0r/wMj/xrO1H4geCNPuPs954q0mKXaG2/aVPB+lYMvwd8HzO0k9ojyMpG5baFADgYOFQDjHpznmr+l/DDwjpyutvpsRR5A5VkHQLgjgDqefWjkwS3lJ/Jf5hz4+W0Ir1b/RfqUNY+L3gaCVVtdUutReNwSthA8iv8pwu4DYeSBjcOSM4xUV38YNJtJfKuPC/imN8Zx9kiPH4S10UfhLSbGKKG1tLdQ7gOTZJLk4JJJIO3OAPT2ya0YbDT9PLxwSWlmHZmKJDEmcjC9Bzj1oU8GtoSfq/8kP2WPlvOK9E3+b/AMjgZPjD9oZzpXhHUJYo0Bc3t1DauWOeEUsd/Tt69KRfH3xE1CV30r4diKFAARd3Lby3ttXGOldjqviHwzo88cOreLdHsZWVHVLm5giZlGQSAxBwxB57Y4rFv/ih4Ds5Tbv45s5n8snfap9oUEng7o1ZcgDGM+5FdNOCmv3WGb/8Cf5GsMszCp/y8b9Ir/gmJcal8Xdcjngfw/pGm2TReXOjFnd1bIYqzFcHHsapaXbfETWb5JtO1qw0m5WzjMciWyN5lrkiMEOHw2Q2cY7cV0T/ABa+HzFs+L/lLE7fsUv3duNv+r9efWue8J+MbTTbmZXt9c1CT7NFFbNpmmPcgQIThmABK7snr6mvBzGniI5phUsPyuXNvF68qv17Xf3+h6uGyjELC1Y1JTvp5fdZLyNM+HfjGQR/wn1n/wCAUP8A8api+A/GghCt4s1ppNuC/wDb0gBbHXHk+vbNaZ+I1vzjQfHI+/j/AIpubjP3f4f4f170i+PtQurgJpPg3xnehQryebpyWgUDjGZyu7d1+XJHtX0P+2L/AJdRXyS/yPN/sCX2nL5y/wAzHh+GGvTXszX3jO/vXVUUNcSliMHcMYIIwfXg1Y/4VQywzRw31rE05/euv2gl/XhpSozgZwBVyPxZ4qWa4I+H/ircygZAsgc+ufM+b09vrUkWufFSRUl/4QOwjDHf5ba8mVBXhT+47Hn6+1edPK3UqTqzjC8rX96HTqlfR6LVa6K+yOyGXzjTjBS0je3vrr53u1vptq+5iXXwcsbGKMaVaaVcl3US+fYxl0B4LKSO3XHFdVH8PbJ1ijvL+WWKHBjWK3ii+YdCxC/MfrmqI1j4q4APgjTicIM/28nJHU/6jv8Ap2qN7r4xX0oS10fw1oyKj7nvb1rreSRt2+Wibdoz1zmso5Q7y55pqStrOMrK99NW1d66dl2NvqjXLbljbXSSV+mtnr93V9zW0z4ceGbC5kniiuS0iFG/e7MgnJ5QKT06ZxVtfAnhdSSunyKWBU4uZRkHqPvdKwvJ+NG/P2zwLjcDjy7noBgj8TzTPs/xr2bf7Q8DZ2gbvJueuc5/Liqo5VRoS56ThF91o/vsFTDurHlqTTXZu5s3/wAPPDF0E22stsVGCYpT83GOd2avQeG9G0nR54bKwjB8o5diPMYgHne3AP6CuaMPxp3E/bPA2NzHHlXPQjgfh1pDoXxRfTnk1Dx5pCOUYy21v4eE6Y5+VSZAW49QKiGT4anLn5oJrbd2b3skna/V6XNHTbTUqi19Xf1sn+J2EPhzQYbn7RFo9ik2Sd4hXPPWrX9naf8A8+Nr/wB+V/wrjYfA/iYxKbr4n+I2nIzIYYLaOMt32qY2Kj2JP1p//CDa9/0U3xV/3za//Ga7JQg966f/AIF/kcyweHjtKP3P/I3fEugRX+lPHp8cNpexsJbaZF2FJB05A6dR+NX9C06LStJt7CLkRJ8zd3Y8sx+pya4s/C+OUvLeeOPG088h3NIurvEM7s8ImFHHGAAPxpk3wh8O3bp/auq+I9XhRnZLfUNVlniDEYU7Seq5OD785rk+oYFYh4h1HzWtfl6eV2v02R0p0lT9lzvlvfSP/BR3moX1lp8H2i/vLe0h3BfMnlCLk9Bk8Zrk5fiR8NbO9mVvFWhxXCsUlKzLnOeQSOvNVrP4Q+ALW7juY/DtnIyMCFnQyoeMEFXJU5z3HHbFdPYaFaafYpZWEdtaQRoyxxw2kSIhLZyFC4HU8dOc9a3ccErfFL7o/wDyRF8PFaOT+5f5nEReO/hwfEUuvWc2pXlwVMP2i00y5ngYjglWSMqT2yD2rf8AC3i+y8TeImj0/R9chght5MX93Zm3glOY8qofDkjPdQOD14rpkt5EPyXBVN5bYI1AwRjHTseaiSKVNRgaSdpQLdl5gHXK5O4dM/3e+PasFDBU4yVGlZt33W766RWoVK1Oa2d7WV3f9EXaKKKyOUKKKKACiiigArlvi3a6FefDbXrfxP5x0ZrRjeLDnzHjBBKLjnLY2jHPNdTWd4n0yLWdAvNNmmNus0eBMACYmHKvzxwQDz6UAeD6d8Gfgufh/b+N5/hLeWSLAbu40+7uZhcwRLksTGZCGIUbtvUj34r3vw/Jpc2hWEuiGA6Y9vG1n5AAj8oqNm0DoMYxXiHjS++OviXw7L4ZtLPwNZafqi/Ym8SxaoXjkjf5S0URGQ5GeMtz09a9k8DeH7fwn4N0fwzaSyTQaXZRWkckn3nCKFyfrigDZrDn8H+F59WOqzaDYPeNKJmkMQ+aQdHI6FhgfMRngVuUUAZur6BousXmn3mqaVZ3tzps3n2Us0QdreTGNyE9D9PStCaOOaF4ZUDxupV1I4IPBFOooAo6Bo+l6BpFvo+i2Fvp+n2wKw28CbUjBJJAA6ckn8avUUUAeW/tMsq/DtiduRcQkDeQSPOj6L0I9+3Hqa4rw0qab8F9Z8RoHj1DxVqDsPNmIIjEjCMA9+/OP4sdhXa/tOb/APhWU2PM2/aIM4xtz5qYz3z1xjjrntWRpmgWdvdfDnRdOe4WG6ij1O5t87kTyY1cyfN03SFFIHY+1duFjD29KpL7Kl+Di/0ObGVaiwtalT+37NP0bqr56tfdcZ8Y7C3mHw2+FNrDA82pajBJc7gJNllYgTScuwJy6xjkHI38ZxXpHxC8UJ4W0Lz4bd73VLpvs+mWUalmubgg7U46LxknsAa4bwldWmvftD+NvE8lwhsfC2mQaHFO0yeVHIx+0XXT0xEpLHIKuK0/h/A3jTxZc/EXUAz2Nu0ll4dheMhVhBw90AT96Q5AIA+UD14eGpxm5Vq3wx/FvZfPr5XPQw1GEU5SXux/Hsv66G78PfCbaKs+tazcHUfE2pKG1C9cD5e4hjA4SNegA64yfbqp5YoIXmmkSKKNSzu5wqqBkknsKy/F3iLTfC+jPqepyNs3COGGNd0s8h+7HGvVmJ6CvLfFV1cagbSb4jSLKs26Sw8G6UGlnmYqdpnKnL4w2eAgPJPavOxmOcpuUtX9yXb0XZL5I9DCYCrjpe0m7Rfldu3SK8vlFdWjo7nxprviVZ/+EGtbW30qMYk8QaoCkA6EmKM4aTAP3jhfc9+V0KCfVtdF54VFx4p1dWcTeJdcRlsbb5lyLaIYDHI42gDj72OnU2HgzUvEggv/AIhSW6WUIVrXw/aNts7cBQB5p4MjDkY+4OwrB8U/G7w7YRy+Hfhrp8fijVLdVgj+xALplkxyF82cfIFABO1MkgEDGCRyQw9WvJOV/wBfkun4v0O6vmWFy+DhQS8+3/b0tHLzS5YeUkdFofw6tr2f+0fGWs3Hiq7jncxxzkLaQsDglYVwu7OeucHpjrW14v8AG/hfwbpjSX17bxiErCtvCRuDHAVNo6dQAOvIwK8nsPhv448fs1z488Z61JaT58y1sJHsLDyj1hWFSHmU4+/KQcfwjv7F4Y8G+HfDtrBDp2mW4khjEazvGDJtG3jdjgfIvA4+UelenDDUsP8AFv26/N/0/Q+ZxOY4nHNJP3Vs7WS/wxVl+CXqeYP4k+MfjyeRfCfh2Pwvo+Qo1HWt0TyA4O6OEDzGwCD83lg5IzkGn6N+z/p9/fPqnxI8San4tupAD9kEjWtjGcqSPLRsyDK4/eMcrwQTzXtdFOVebXKtF2X9a/MxhhoRfM9X3ev/AA3ysZ2haFoug232bRNIsdNh2qpS1gWMEKMLnaOcD1rRorJ1rxN4d0Uf8TfXdNsW2GRUnuURmUdSqk5P4Cs4xlJ2irmspxgrydka1VtTKiyfcUAyv35Cg+8O45rjpPit4Rd/L0yTUtYkCF2TT9PmmKAf3sLxkmqOr+P/ABB5QFv4LmslMYk3anqtvau3P8CjzN3HXOCPSuhYKu3blt66fmcssfh0r81/TX8rnpFFeTQeIviJqaJM95Y6ZD5ZYGw0O5vPMb0y5UYGDyCc0osfilqUheTXdQgVYvk8m1t7T5j3YMZd3/juK2/s+S+KaXrf/Iw/tOEvghJ+iX+dz1gkAEngCsDU/GnhHTEje+8S6TAshIQtdJyR9DXCwfBsahHE3inxVrOqyIhAWS7kcRscZKlj3wOgFdBpPww8P6bOktuzwskZjDW0MVu5HHV40DN0HUn1o9jhI/FUv6IPrGNn8NJL1f6IF+J+h3TRjRdJ8R63uQuTZaXIAq8YbMmwEHPG3NV5PiReTzLBpfgfXJJeTIL6WC0VQPRmcgnPbiug/wCEP0lyv2uS/vVQYRLm8kdU6dBnjpVuHwz4diiWNdD04hRgF7dWP4kjJ/Gjnwcdot+v/DoOTHS3kl6f8FP9TgT418ZXYgVJvCOms53OEln1CVOCdpjiVec9WDEDHes+3s/GmsakxuvEXie5HlBylhBDpyDLPghmySvXAbk9+lewQW9vAipDBFEqDaoRAAo9Bimx7vtsufM2eWmM425y2cd89M546Y70fXKcf4dNfPX9L/iH1GrP+JVfy0/W34HmH/CI+K5WVIdX8YwHPL3Ovw7AMf7EZOfwpLb4VXTQhrvU3lnYlpHk1C9ZmJJOSVlRSfoqj2r1aqOq61o+k2xutU1awsIAwQy3Nwkahj0GWIGfanHH127U1Z+SKjlNKT1vL+vI85i+C2jXMiNrOpX95GGLG2NxI8SnkDaJGboD3yfet62+F/hWG2hs2gmltIvuwPs29+4UN39as6j8TPh/YQrLP4w0aRWbaBb3SztnBP3Y9xxx1xis1Pilp96kbaD4Z8U6z5zlYXg0x44pVGcussm1NvHc81vfMqivaSXpZffojqp5DTSuqPzf/BN208E+GbWKOGLTj5EZJSB5naJSc87Cdvc9u9Tnwl4ZPXQ7H/v0K5tfGXjhWW5m+F9/9geRlURanC12BztZoThRnA/5aHGe9I3iL4mao23R/AtjpUTSYW41jUgWVQOS0MQJGTwMOfWs3Qxd7yqL/wADj/n/AME6VlNNacsEvWJ2dlpGl2SItrp1rCIzlNkQBU+xqXTCp022KlCvkrgo5dcYHRjyR7nrXEyQ/GG6CwNe+CtPRmG+5giuJpI1zyVR8Kx7YJH1qK18DeJdStYm8RfETX5N5DyW9gkdioGOFymXHvh8E+1ZSw0d6lZfi3+VvxNY4WnTVudL0u/yVvxO+u7q2s7dri7uIreFcbpJXCqMnAyTx1rldV+JvgLTJZYLnxRpzXEZCmCCTzpWJxgKiZLHkcAGqdt8JPBAuvtmpWF1rl35gcz6reS3LNgABWDNhlGOhBrq9K0PRdJtlttL0jT7GBWLrHb2yRqGPUgKAM0rYOHWUvuj/wDJfkVbDx6t/cv8zkbn4r+Hygj0nTPEer3jkhLW20edHbgnOZFVQOPXPsaausfFXVEY2PhHRtCQ7VVtT1HzpFz1fZCCCAOxZTmvQKKPrNCH8Okv+3m3+XKvvTD21KPww+93/wAl+B5/J4V+IOql/wC2fiK1lA7rut9G09IfkGPuyPukViQcnJHtjipP+Fby/wDRRPHn/gzT/wCN13lFL+0K/wBmy9IxX6B9bq9LL0S/yPPX+F+gLKkmqat4i1a4nmCme91udH27eFURFFPTuM9eatwfCf4fozvceHYdQkfGZNQlkunAHQBpWYgc9BxXY3W/fb7fMx5vzbMYxtPXPb6c9KmpPMcW/wDl4/vaE8XXf2395zmleA/BelCQaf4V0eDzcb9tohzjOOo9zW1p+nafp6uun2NraK5ywgiVAx98DmrNFYTr1anxyb9WZSqzn8TbCuT+Hen/AGKTXWMm9m1J0PGB8vP/ALN+ldZTIYYYd/kxJH5jl32qBuY9SfU+9efWwiq16Vb+S/4qxcKzhTlD+a34D6KKK6zErW5X7bdYKZ+TOJCT07joPw61ZqCHf9qn3eZt+Xbuxt6dsc/nU9ABRRRQAUUUUAFV9TKjTbksUC+U2S7lFxjuw5A9xViob7d9in8vzN/ltt8vG7OO2eM/XigCaiiigAooooAKKZLNFEu6WVEGcZZgKgk1CxRdzXcJH+y4J/IVjUxNGn8c0vVopRb2RaqvJt/tKAZTd5UmAXIbGU6L0I9+3HqahOrWPAjkaVj0VEJP5YpYLoXF8mxLlFWNsh4tqk5XHXnPXp757VlTx+GqSUYVE35O43CS3RdooorrICiiigAooooAK574kabc6v4E1jTLRZXkuLVkMcUmx5U/jjVuxZdyg5710NMnmit4XmnlSKJAWd3YKqj1JPSgD568Y/Fr4PaH8I7zwT4XLS3j2Mlhp/h2CzmFykzAhUZGXKsHOSSc5GRk4r2f4Zx69D8PPD0Xihi2tppsC35Y5JmCDfk+uc5ryvxt+0B4Gs9Yk03wJok/j7xTgiOLR7bzFUju8wB+X3XdXqHws1bVNd+HOgazrkPkaneWMc13Fs2eXIwyy47YPH4UAbWt6la6Po19q99J5dpZW8lxO/8AdRFLMfyBryDR/FnxB134NXHxVs72K1neCXUbDQTbRtbvaISVSR8eYZHRd25WABYfKQOfQfi9pV1rnwq8V6PYgm6vdHuoIQP4naJgo/E8V578M9XsIf2NrHUZZo1t7XwrLFMT0V44nRlPuGUigD0/wD4msfGXgvSPFOmhltdTtUuERvvJuHKn3ByD7isPxrp3xF1qe6Twz4osvCltbAC3lk09LuS6fGSX3nEcefl4BY4J44rG/ZesJfD3wB8Fabqri3upbPzEilO1v3jNKqgHnO1hx9a6/wAf+F08Y+HrjQ5Nd1fSYZlKTSaZOsUjqRgqWKkgfTGfpQBi/AHxdrXjj4WaX4h8QWUdrqMxlilMSkRzGORk81Af4W25/wDrV3leXfs3XGtr4U1jQtW1B9Ug0DW7nStO1B1Aa5toSApbHBK8qSP7teo0AeWftNTW8fw7lgkliSa4YRwhlO9iHRiFPTopJHU4z2NL8PooofFHiPWrh3ubbw7p9vokEyqnIgi8yfAHOdzA5J747cYX7XDTr4f0FlkjEAvJS6ljuLeS20gZwQBuycHGR0zzlfES6v8Awr+yXeLI6San4hgSAIsTPLNPfP8AvCgQjL7HZ1HA+XFdMIKEXJbySX3yf/yP4nNVg3WhFbfF81dL87mT8HrTUPGXhmw8Mzz3EVv4imuvFXihwUDNFczE20ClBtTzEVHZQcgbuR0r3zxh4g03wf4ZkvpkXESCKztIxhp5MYjhjAHUnAGBx16CuG+Aujnw98MTr80llaDUoTfMfJOyC3VAIVwHICLEo+UdM47c8X8RfHGZ7XxTqmr2+jJcNKvh2K+byltLYxNu1F1yWaQjcI0IOeABk1Gb4j2FsNT+zp/299p+eui8kj6rB4BYmryS/h09+l3u9flq+kVfV2T3tTTUP7YsjeahFq3xD1LK2tnuY22gQyLlpggGQVUAbm5YnjvT38R+C/h3qMXhvwjo1z428d3ChbiGwdZbksNqtLczOxECZb+I4GcYwCRheC9I8f8AijSksvCGmyfDzwzdiOS6169/ea3qWY/mdI2LCENxyzEqORzxXf8AhXw/p/gyBPCPw/0vTIZo1Zr67aE7gSPlkmkzmSU45znPsBiuLCYNuXM1r+Xnfv5/JHJm2dJw9lSbUNu3N2SitorpHXq27tnHal4P8ReKLi3l+LevXOqyzgPD4N0BjBZx/JyLhwd8oBPJZguexU4HpfgjwfZaPbwyyabZWRiXbaWFtGqwWSccKBwX4GX6kirdpZWXhe1ku7q+tFaSQNcXlwn72bI+YE55OegHAHY9a5fXvigLO5j03SdMutY1WdB5NtDbFWYkg7ypbcqbSOSAD1zXrU6U5pxoRv3e3/DI+XqVqcGpYmVu0d/+C3+Hbuehaft8qTaEA86TO1CvO4569T6noetQaxrej6PA8+q6pZ2UaLuYzTKuB68153BpHxO8Wwzf2lrlt4U09yQbayP2m4bJBYGQkBMHIwM45GO9a+g/Cvwvpcv2iXTrXVLshN1xqStcvwRuxvYgdBtIGR6modCjT/iTu+0dfx2+65osRXq/w6dl3lp+Gr++xWl+MHh+5lMHh3Ste8QTbAU+yWDqhY5wpL4I6dcY5qy+ufEvVIW/srwbYaPmNSsuragHOSeoSLJOB1DFetdZZaebGFo7GHT7VSGOIrbau7+E4B7Dr6+1W9t3v/1kGzeOPLOduOR1657+nbvSlWoR/h0/vd/ysghQxEl+9qf+ApL87s8sl8C/ErWEk/t34gzxboxH5dkBCjDnOQqj169cVp6N8I9AsInRpAd8SxuYraNWfGclmYMWPPXrXe7b/YP31tu2DJ8psbs8n73THb1/KlK3uTiW3xlsfuz0/h/i7d/X2q5ZjXtaNkvJJERyvDp80ryfm2zJXwf4f37p7N7sgYX7VO8wX6bycfhTpfD2g2NrK9vpNhEW2hibfeD83oOa1At7kZlt8ZTOIj0/i/i79vT3qtqI1AWL4ntw+3gjdH828YOd3THUdz6VzvEVWrOT+86o4ajF3UF9yNGiuV8X+NtF8LNEmqapbm5ncfZ7G3iaW6nB4UJGpJJ3d8Y7dawbbWvizrkRm0vwxomh2zRfu31i4czOSSA3lxBtnY7ST9a1p4KrOPO7Rj3bt919/lc74YaclzPRd3p/w/yPSKoT63osEzwzavp8UqHayPcoGU+hBPFcNN8Ode1aMjxR8Qta1BXjlV7ezP2KDLkcbYzllxxhi3B4IrTsvhj4KtIVgTwl4dlQOCWuLATyEHlsvISxOTxknA4q3SwsPiqNvyWn3tp/gPkoR3m2/Jf52/IS8+K/w/t5BHH4iivpCGJTT4ZLtlAxncIlbb1HXGap2vi/x1rYjm8P/D57WzkDMlzrV8tvvUdP3aB3UnryMY7119hppsLZIbGDTbVY4RGiw2uxVweAADwoUYx/+qrm283/AOtg27m48s5244H3uuevt6daPb4aHwU7v+87/guX8Wx+1ox+GF/V/wCVv1OLef4t3TxxR6f4Q0tckvO9zPd8YPAQLH3xzu/Cqtt4Y+Ikl3LJP8TEgumjRpVt9CgKKCXwqs3JUc4ySfXrXehb3AzLb5wmcRHr/H/F37envVdBffbpwJ7fPkjAOSASzbTt3ccdT/F7YpfXpL4IRX/bqf8A6VcX1pr4YpfJP87nHx/DNrxkk8S+NvFOsvvaR4RefZbcsc4KpEAy4B4AbHt2rQ0r4YeAdNmint/C+nvcRkkTzp50jE5yWZ8licnk5rqtt3v/ANZBs3jjyznbjkdeue/p270zbf7P9dbbtg58psbs8n73THb1/KlLMMTJW52l2Wi+5WQpYus9OZpeWi+5Fex0HQ7G5W5sdF061nUELJDaojDPXBAzWjVcre7jiW3xlsfuz0x8v8XY9fX2oC3uRmW3xlM/uj0/i/i79vT3rllOUneTuYOTluyxRVYrf7Dia23bWwfKbG7Pyn73THUevp0p+278z/WQbN/Tyznbjp1657+nbvUiJqr6Xt/s212BAvkpjYhRcYHRTyB7GgLfbRma23bVyfKbGc/MfvdMdPT3qDTxfNp8BE0BzEcE5k6gbMtu+bHc/wAXbFAF+ioAt5uGZbfbuXP7s5xj5v4uuenp703bqGz/AF1ru2Hnymxuz1+90x29e/agCzRUG283/wCsg27m48s5244HXrnqfT060gW+wMzW+cJn90ev8f8AF37envQBYoquVvsHE1vnD4/dN1z8v8XYdfX2pdt3v/1kG3eOPLOduOR1657+nbvQA292+Za7ghPncbkLc7W6Y6H3PHX1qzWddjUAbYfaLYOXAOAUBbDZ43fMMfw+vOeMVZK3m4/vbfblsfuz0x8v8XY9fX2oAsUVVJulG57i1CjYWPlkcD7/APF37enfNVZdRCAqdQst+xsERsRuz8p4bpjqPX0rGriaNH+JNL1aRSi3sjUorKOqZc+TIJ1DZxFbsx246ZzgHPfpj86T7Zquz/jzYvtX/lkMbs/N/H0I6env0rn/ALSwz+GfN6Jy/JMfs5djWorOik1p92+Czj5O3LE8dhx3p4h1PAzfQg98Qf8A16FjXL4KUn8rf+lOLDk7tEtvt+3XWAm7KZwhB6dyeD+FWaxxb6pJcXarqio427cIGAOO654/r1qQ2OqFj/xNzs3HjyRnbjgZ9c9/TsOtP61W6UZffH/5IOVd/wAzUpryRpje6rnpk4rL/smVgvn3AnIVfvlyM5+cj5u/b075py6Sq5Kx2bEhwN8TMAc/L1bt39fal7TGPanFesn+Sj+oWh3LJ1LTwcG8gz/vimf2rbNjyUuJyeyRHp684qRYJlIVfsojDLhRCfu45HXrnp7du9AW/wDLA8613bAP9S2N2eTjd0x29fyo9njHvOK9Iv8AWX6BeHYjW7vGAZdMlwemZFB/LNQX8l+2n3Bms7ZYjG25Xcv8uD1VRzx2Bq8VvNxxLb7dzY/dnOMfL/F1z19faqOsXMltYSfaL+yhLqFXc/klmwdwDFuCex7e9TLDziuadeVv+3V/7aNO7so/mTltVYgCO0j9WLs36YFLt1X/AJ7Wf/ftv8apnW7Laca9ou7a2D5gxuz8p+/0x19T6VVfxZoqTsp1uxKrJg4jY/KBjGQcE579MfnXPOWEjrUxH/k6X5WRqqVZ/DD8DUWxuHBafULjeeoiIVR7AYpRpdvj55Lh27sZmyfyOKxV8UPMi/2fbXWoMcKGgsXEbEE7mDMwXGBgDOc+vSnnXNayceHdQ6vjMUf/AAH/AJa9u/r7VnH+zH/f8/en+OqKdGut1b7kbUWm2MbBhbozf3n+Yn8TU628CsGWGNSOhCiudTVPFsp3xeHYBFuXAmuQjlR97IGQCT05OPepI/8AhM7mNfM/sew3H5iN8roM+nAP51rTrYWCtRov5Qa/FpL8ROjP7Ul96f5XOiqvJt/tKAkJu8qTBKEtjKZw3QDpkHrx6Gsr7D4o/wChgsv/AAXf/Z0ul2esW+teZqWsrexyQvshSIRKhBTnbklvr2/GuyGJqSkk6Ul5vl/STZnKlFK/On9/+RuUUUV1mIUUUUAFFFFABXhXxh+D3iLxd4s/tnUPEGoeKPDiksfCsl79gjB4xtkjXD9+HAPq9e60UAeG/DG+8G+Gvipd6bZ6CPA0Eug2ltFYX9utqZZ0nuGcI2Skx2uh3KzZBHNe0aReWOoaZb32mzRzWcyB4ZI/usp6Ee1QeItD0bxFpU2la9pdpqVjMMSQXMQkQ/ge/vTfCeh2Phnw1p/h/TFdbLT4Ft7dXbJCKMAZ78UAadchcfDbwhP9oik06T7Bc3P2q405bhxZyylgxdoAdhywBIxgnkg119FAHP8AifwZ4c8S6poepaxp/wBoutBuvtenOJWQQy4AzhSA3QcHI4rOuPhr4Vk8XXviqOPUrXU79VW9a11KeGO4CjA3xq4U8ADOK7GigCvpljZ6ZYQ2Gn2sVrawLtiiiXaqj2FWKKKAPF/2skDeFtFeQOYUv28zag6GJx97seenfk9q4v8AajS4/sn4c+AZ1R28priaP7QUWWWGKOCPbgZdllnWQLxkI2a7L9rV4x4S0qMvEJTdsVUsd5ULyQOhHIye2R6muF+LmsWN1+11pJu5rhrDwtosV3cHDbbaYNJPhR9394BAhODn5QOQK9DBSXtoSntHV+kby/zLy2nOvjV1s7JeiUvvbdvuO9+LOu6Jpdpa+FNY1CHT/DOi2MV54glRMb0XAgtUHTMjKflHJUfXOR8HPAMvjnxJc/Fn4h6O6+c5Twzol4g8qwsgAI5GiOQJCM4B+6OcZIxy/wAAvCd18WvGOpfE/wAaRSXGhQ6i0mkWMrkw3F0h2tOyEYZIwFROcfKeOMV754z1qZx/wj2hSJNq90CpCt/qEx8zMR9046V5eEoTxNT2kt3r6Lz+X6no5zmEMLT+rUpXjHR2+1Lrbvd6LulHsR+NPFlpZp/ZlhfIl7K4R5gpZbdTyT7tjooyckcVzGr+Kbjw/pttpmg6Vdwy3hZrVGi86+vWwS0gj7DgZd+BngelXS7iz03Uv7J8G6fH4q8Qx4W4vGbZY2XyjO6QDaW6fKMuecn17bwP4UfR5rjWtaul1PxHfAfa7zbhUXtDED92NfTqep9vdk6GGha1/Xq+9ui9fkup8bBYjFTbvbpp0Xa/V97fN6WON0/4e+MdYkS78SeIY9N3A747IefcAFiSPOkyqHGBlFA9j1r0Dwr4T0DwxE66Pp8cMspJmuHJeaUk5JeRss2T6mtuiuCtjKtZWk9Oy0R6WHwNGg7xWvd6v+vQr2ORHJuDD99J96MJ/Eew6/Xv1qxVbTtvlS7fLx58mdhJGd5znPf17elWa5TsCiiigAorJ8UeJNC8Mac2oa9qltYW44BlcAufRR1Y+wriv7S8b+PiY9Eim8JeG2Yj+0p1xqFymCMxRMP3QJ/ibnGCOeB1UcHOpHnfux7vb5d35K7N6eHlNcz0j3e3/B9EdL418a6P4XiSGaQ3urXDCOz0u2Ia5uXOMBV7DnJY8AVyz+D/ABN4shfVPHWsajYxM+630HSptiW65wPMkQ7pXwckggA5xkYFdV4P8DeG/Cxkm02yMl9MS09/dOZrqYnqWkbn8Bge3Jrb1Xb9hff5e3K/fJA+8O45rb6zTw65cNv/ADPf5LW3rv5rY09tCkrUd+73+Xb8zH8KeB/CfhVjJoOg2dlMUCNMqZkYAd3OTz355710VFFcdSrOrLmqSbfnqc85ym+aTuwooorMgKKKKACoI8/2hMcNjy48HywB1b+Lqfp2/Gp6rRbf7TuMeXu8qPOCd2MvjI6Y64x757UAWaKKKACiioLi8tbfia4jQ+hbn8qzqVYUo805JLz0Gk3sT0VQGoSTY+yWU0yk8O2EUj2J5/ShV1WTLtLb2+TwmzeQPc5FcizCnP8AhRc/Rafe7J/Jleza30L9QadkafbhgwPlLkNGEPTuo4H07VB9iupB++1Kbk5IjUIPoD1H51Bp+nwTWFszzyyIY1baszGM8du+PSn9YxMvho29ZJflzByx7mk0sana0iKfQtUEuoWMRIe6i3DqobJ/Ic0iaZp6g/6JE2T1ddx/M1PFbwRKFihjQA5AVQKP9tl/LH75f/Ih7nmVTqtpj5POkbsqwtk/mKT7bdSZ+z6dMegzKQgz9DzV+ih0MTL4qtv8MUv/AEpyDmj2KJfVW4W3tUP94yFsfhgUeRqTkl76OP0EcOR+tVtT8SaRYXBtZLkzXX/PvboZJO/ZfpVU6xr10D/Z/huSNTgCS9nWPBPcqMkgfXNcVSeGUnGVWc2ukW9PXkSt8zojRqNX5Ul52X5l25sZmaLzr25kLSYPloAFG08/7P198d6nOl2jDDecw7hpmIP4ZrFvLbxRcNF9p1TS7ItNtiWGF5Cp2nkEkZbrwRj+VWX0LVJFKSeKdSKH7wWOJCR7MFyPqKn2FKV/9mlL/E0//SpN/gHLbeol6X/RGl/Zenf8+cX/AHzVlI4oVJREjXqcAAVhyeF4JEaOTWNcdGGGVr9yCPQ0p8H+HSCDYuQeo+0y/wDxVbUqVam70cPCP/b1vygxNUn8U2/l/m0akmo6fHG0j31sqKCzEyrgAVS/4Sfw7/0HNP8A+/6/404eG/D64xoenDHT/Rk/wq/9ltv+feH/AL4FdP8Atr/lX3v/ACJ/cLu/uX+ZlSeLPDyvtXUlnOMn7PG8wH1KA4qM+LNPkfZZ2mp3xxlvIs3+X67gK3I4oo8+XGiZ67VAzT6Xssa96kV6Rf6y/QOegvsv7/8AgHNx65fPdSGz8O6rNvAJEsSQbQOPvMfmz+lTf2l4kmfEHh2OAAZJurxRk+g2Bv1xWpbbft93jy92U3YYluncHgfhVqj6pXfxV5fJRX/trf4h7amtqa/H/MwTJ4vmcKlvo9moByzyPNuPYYAXHf1pE0vxJsXf4ow2OcWEeM+1b9FH9nxlrOcn/wBvNf8ApNkH1lr4YpfJP87mAnh262DzfE2tNJj5isiKCfYbTge2ad/wjs3/AEMmu/8Af5P/AIit2ij+zcP2f/gUv8w+tVe/4L/Iwf8AhGIpHBvNY1m7VQdqPdbQD6/IFP60jeGdEs7Waa302NrgRuRI0fnSEnJz833jn1rfzVHU7m1NjcxNcW5YxspV5MDp0OOfy5pPBYKk1KUY37vV/ew+sVpK3M/l/wAAX+yNJ/6Bdl/34X/CrUMUUMSxQxpHGv3VRQAPwFVTqunAkfa4/wBaQ6tYkgRymVj/AAxoWP5ClHG5fTd41IL0aIaqy3uXqKo/2tZfdDSF848sRnePwxS/2nB/zxuv+/Df4VazPBvarH70T7OfYu0VRGoM3MdheMueDsAz+BOaBdX7DcumkL23TAH8RR/aNB7XfpGT/JB7OReqCTP9oQnDY8qTJ8sEdU/i6j6d+fSoA+rN8whtIxnhWdiR+Qoh87+0I/tn2YS+U/l+WzZxld3B4/u1dPGKcklCWvdNfmDhbqXqKKK6yAooooAKKKKACiiigAooooAqazqNrpGj3urX0nl2llbyXE7/AN1EUsx/IGvIdJ8X/EDXPg7cfFaxuILZ2gl1Cx0BrZGhktIycJJJ/rPMdF3blYKCR8pA57/4waXda38KPFmkWIJurzRruGFR/E7RMAPxPFef/DPVrCL9jaw1CSaNba28KSxzMTwrRxMjA++5SKAPT/AfiSw8YeDdJ8UaZuFpqdqlxGrfeTcOVPuDkH3Fch41j+LHiC9vF8EazpPhiysZDFC9/YG4lv5F+8eTiOLPyggFjgngYqH9lvT59C/Z+8F6fqbeRcyWXmrHKdrfvGaVVAPOdrDj612PjDWrmxiTS9FiS6169VhZwt9yMdDNL6RrkZ9ThRyaAOZ/Z88dav488ET3XiLT4LHW9L1CfTNRS3z5TTQthmTPQH0yec16LXL/AAz8LaX4I8NQ+GbG6Nzcxlrq8mkYebcTSsWeZx23MGx9Mdq6igDxf9o+Ozm8UeA4NRUNZyXkqTgnAKGS3Bz7evtXzZ4z12X4jfFrxIdCZkvPEesw6JatGhXbaxIiiQ7j1YHOCQMquRzx71+2a0cWj6FcSNhVF2pJ4ABEXP6V5B+x/ptvHrcXiZrSO5vVSaextwCzyvLKVXODhWCqTls4Xn0rfFRUsLTVNvnk+X5at/nr5aHr5BONGWIxlT4aSuvWyTWnX3o27M+rLSxtvCvh3SfAHg+IQSW9skKFE4toRw0rf7ROTzyWJNcjLpLeIPG934d8L3Elnpmn262ut6mD/pDOzFnijb++w4Z8cDp2qWwfxF4jv77SvDGqpatuI1vxEqeZ+9GcW1vng7QQCwwF7cmum+F2h2eiWeox6PAILU37x7pmLySLGNu4nP3jJvJJ65+mPRVsLTlyvVL8X1fy2XzZ8ZK+MrRclo2/uXRfO3M/kjqdC0jTND0yLTdIsYLO1iACxxLgdAMn1PA5PJq9WZNqKW7mG41PTIplVNyu+0g/xcFuhHT+tUrrxNplvK0UmtaYHAYjGWHP3OQfz/pXgVcbQg26lRL1aPfp4edkoRdvJHQUVza+K7ORz9nlkuoldQXt7GaRcbfmAYcZyfwqJvEWqTKy6do13dybQqu9sYY95PcuwYDHseaweZ4S3uzT9NfwVzX6pW6xt66fmdFZbvLfd5mfNfG9gTjccYx29B19anrk7TUPFhV1h8N2kameTlrkLjJPJA685JPcdK5zxpqPiDXtVf4cRzWdrfX1k1zc3FlLJm3twwBDMQCpfJUYB71pRxcasrRhOy1b5JaLq9UjSng5TdnJL5p6d9DU1H4naO2pSaV4Z0/UvFV/GwSRdLi3QxMSBh5iRGvX14xg4qqbH4oeKCp1DUbPwXp5QboLHF1ePnBIMrAIhAyPlBwf7wrb0XSNe8P2EWmaRDoAsYkVYkWN4AmBjGBuzwByTmrgi8XTOS91pFmoHAjiebcffJXH611f2xTpO1DDyv3kk3+fJ+frc2tTh/D5fV6v7rfp8zN8N/DXwjod8mpR6e9/qibSL/UJmubjIAAO5ycH5QRjGO2K7CsL7H4q/wCg1p3/AIAN/wDF0j2XipkZRrmnqSCNwsDke/365q2ZYis+apTm35uP/wAkYVIuo7zqp/f/AJG9UF/u+yts8wNkfcYKeo7nisOPS/FUTkr4mimUoBiaxU4PcjaR+tRyab4jgtcz+IYbsEDzFm04OM7uCoUg+nXPTPFZfW6v/PiX/kn/AMkR7GH/AD8X4/5HT0VzsOl+KYWLDxNDPntNYrgdOm0jnOfwxUv2PxV/0GtO/wDABv8A4uhYur1oy/8AJf8A5IPYw/5+L8f8jdornptN8UzEbvEkEACtjyLEDLds7i3H0xSPpnimUxK/iSCJFPzmGxAZx/wIkfpR9cq/8+Jf+Sf/ACQexh/z8X4/5HRUVzX9i+J9n/I3Sb9nX7HHjdn6dMfr+VNn0TVSwfUPFl2YFZsBAsBxj5csmMnP4ewpSxlaKv7Fr1cEv/Sn+QKjT/nX3P8AyOnqGPd9umz5m3y0xlhtzls4HUHpnPHTHQ1yP9lzy4Wz1jWbpvlyVu3VB/f+Y/p+tT2vhu6FxcN/bWpLcNEv355GUcttG4EbsfNkds+9cUc2rVJWo0efzTVvvdl9zbKdCmlrP8DqLm5gtk3Tyqg7Z6n6DvVQXl5cY+yWbIp/5aT/ACjH06ms258MvcXKTSapeoykDdHMysV288+ufwxUf/CM3mz/AJD+qbto/wCXuTG7PPfpj9adSWZVZO8eWPk1f5trT5L5hGNFL4tfQ1/sd1MR9rvWK5z5cI2D8+uKntrK0tseTbxqR/Fjn86wj4ZucnGvatjLY/0x+n8Pf8/6UDwzdZGde1bGVzi8fp/F3/L9c06eHnTlz+wvLu5Xf3u/4A/ZvTn/AAOlormT4Zu9h/4n+q7trY/0t8bs8d+mOvvT/wDhGbjf/wAh7V9m/wD5/Hztx/PP6V2e3xX/AD6/8mX+RPs6X8/4HR1DYbvsMG/zC3lrnewZs47kcE+44rAHhm62jOvaru2rn/THxnPzd+mOlV9O8M3A063Ca9qgHlfKBcSIAMDZ8ufl9x/Kl7fFf8+v/Jl/kHs6X8/4HW0Vyz6CY5NsnibUUwVyDfsDjHPfrnpWXrlnPZQQx2uv6lcXlw3lxAXr7VYn77HnCgcnPU1y180nQg5TgtP7yv6epdPDQnJRUt/I6HU9auv7UbStGsUvbuOMPMzzBI4Qc4DHk546Ad6gTw7cagTL4i1GW7J/5dYCYrdRnOMA5bp3P+NZNnoFrp6mNfEV8ZZJC8xt53BlYjrgd89fapG0/UVVo7fxHrAify90ZhZnJz8+125XI6YIx3zXlvGKo28UlL+6pxsuya0v53vrsjptCGlGVvOzu/nrb5W8zqtM02w0yEw6faQ2yE5IjXGT7+tW64z+zvEcW9bDWNVQNu2rcRpLhuNuWYk4x1H5YqzbaX4saXdL4gkSMEfKYoskY56L65rvp5soJU6eGnp/Klb80vyOeVBSfM6i+d7/AJHR3W7fb7fMx5vO1gONp656j2HPSp65+XTdSWW3M2uzynzRsBtkIDYPPC8cZGfei/kmt3aC58TWlszBiBJsRgpHyHqO/X17Yrup4vETvbDzv6w/+SZzzjCG81+P+R0FB6VwtzafaGRpPHlqCNoJVo+R/F1Y/h6d81nXcVrbMYpviDEJChPCIwyT8vTtjqP5Vk6+at2hg2/+31/kF8IleVZL7z0SW8tIiFkuoUJ5ALgVE2qWCnAuVc/7AL/yrhLTUvs88y6f4ki1CMhT+70UzbOvUx4GTz1q1/b2qRqzJfSZx0Xw9OCfb71C/td70HH5J/8At6/QXtsF/wA/ov5v/I6/+1IGbEMVzNgclITx+dB1Hg4sb0/9sTXI/wBseMiuRZXnT/oGJ/8AH6u6NcfECUs17ZaTGpUFRLIV5/4DuP50prMIR5qia9Iwf4Kcn+Y4ToTlyxkm/wDt783FI3o7m8EsjfYbht2PkMqYTjtzxmnibVCufsduDjvOeP0rJhbxZ9quNtroQf5dx3yjPHHOz5v6VWNv8QiCPt2gjI6hJOP0rOM5y+KpU/8AAV+kDWVNrZJ/P/Nm/wCVqkhG+6t4hj/lnESSfxNH2O6dv32pTYHTy0VPz61yf9k/Ej/oZLD/AL4H/wAbo/sn4kf9DJYf98D/AON1p7HDP4nN/wDgz8tvwMeat/Ivvh/mdYNLgwN010x7kztz+tL/AGZb/wDPS5/7/v8A41yX9k/Ej/oZLD/vgf8AxumL4W8WyhEk8RTW2B88sd7LKWOP7pCgfnT+r5f/AM+m/wDtx/m7L8Q5sQ/L1kv0udguk6cBj7Kje55JpLyytY9PmWK1QERtt2BQ2cdi3APua48eFPED7BfT2+pbAQPtGpXAGf72FAwePWmXfhO+S1lZtL0nAQk4v7tz0/u9/p3q4Ry6n8NGSflTX+YnHFP+X/wP/gHfM8NvGNzRxIOBkhR9KqXmsaVZxiS61K0gQnAZ5lAJ9OtcUugX6EFvBdlcOobHm6k0kZbop2uSMY9Rn6VdtbLUbW5E1t4C0iE7sbkmjDbMcjOOuf0rpWYYJLap/wCC5L9GT9Xxb/kX/b6f+RsHxh4d3MF1AyAEjdFbyOp+jKpB/A0n/CYeH/8An8m/8A5v/iKrRX3i6OIJH4Ys0wq8LeKF3Z+bj0x096edS8YZOPDdtj58ZvV/4D/9f+lP+08H/JU/8Bn/APIC+qYv+eH4f/JkieLLWXLWula1cxZIWWKxYq2PTODSpr2rSr5kPhTUmjJO0ySxRsRnqVZsj8ahj17XEO268N3quGUMIUWRcfxYbeM57cce9H9v6xs/5F7Ut2w/8u643Z4/5adMfrT/ALWwfSL+an/kg+oYl7z+7l/W5M2r+IZCqW/haSNyfvXF5GqAe+0sf0qxpk2uS6ko1Kxt7WEQvgw3fmBmyvVSoPTOCPf1FU/+Eg1Tf/yLuqbd5/5YJnbjj/lp1z+lTaPqF7fatGt1pdxaBLZvnmtwMtlcgMHOB04xzjrxTjmeHqvkjHV+Uv1D6lWh70pt/OP6I3qKKK2GFFFFABRRRQAUUUUAFFFFABXG3Hwz8JTpc2rWU40y6uTdXGlrcOLKWUsGLNCDt5YbiOhPJBrsqKAOd8U+C/DvibVNB1LV7JprnQLr7XpzJKyCKTAGSFIDDgcH0rmPFfwV8GeJvEt34i1WfxCdQugqyNBrVxCoVfuqqowAUc8D1J716TRQByvw78A+HfAdreQaBHeZvZVkuJbu7kuJXKjCje5JwB0HTk+tdVRRQB83ft5Txw+BbFjyyxXXyg8/N5aj8Of0rlPhOl74Z+CmlWdvAY9T8VRrbWt485Nzb2gUbyEx937+Cv8AeHcCrH7eEE95qel6fbOEkvLaC2BI/v3O3+tdn8J/D/ibSdcS9kuLG+bTtNFlZ2dwI/tMigGQBPmAiyx78kdcdaWKaoyg1O0km0rN3lbTpqlpdXWmt0rtOhU/c4jDSa9+cF2tFwjKXpqopN9fmdB4cbXLXQt3k6hp2hWcGyOOyEUChRnJy/Oc9SMknPerPh/wTqN9p6XVxa2yPKBJuuriRnfdznCEY7HnJ5PPal1PxR4wktJ4fEXhJLG1487/AImttKm0MNykcY4zyzAZx60eJfip8PNFvBa3WrvdTMATIryShBx18vPH69a+V/sqdSl9VmpV5uXM/ejN3SfSn7Rpave2u56bq1I4peyio2jZKPnbzs9kXP8AhWayOz3GqwWzk8Rwxl1Ax6s2as2vw/ktUMdr4suYEJyVjUqCfXAeuPufjZ4Tgtbm+tvDeq6hplv/AK3UY7FmgHAJy8hBGMgHOKj0H4s3Xi11k8E/Di71izJVDclUjiVySMb8lSBjk5470ocHzi7rAtPznKP4y5UvTT0On65jZaNtLzirfe0d0PBV+OnjbUB+Lf8AxdOXwPqTcr4z1JvoWP8A7PXmPjr4jePPDctzJcfDeCCG2RTIBNFNyQOhX6j6c81maP8AE/4japrNjDpvgTTbi2uHUGe31dFHuFEe/J464PPXpXRLhPFQip/Um4vtWv8AipNHFXzWph9ak7K9r8qav2va1z1qTRtR0XRr/VLnxxdQ2tqJJJnIEgCpnuzcHA6evFcx8MvC/je+0+bxlPrptL/xBsuHWXl1gUHyEOBgYU5x/tHPNQXXiPX9f1eLwRe+D2nup287UrOXUBNFFaj5g7ny1AZm6Bhzx1zVf4nfEHxH4QnbT7rwZr93YvalmkhliaIrg7kDGRdxA6hQcZFd8corUMK6EcNOLqW/5fK/KtUl77er1feyHUzf2NLmk9Za3cOn/gPV9+yaPS/sfjyL94NY0ucrz5TW+0P7ZA4qrrPizX9FCLqPh+3Y7NzSQ3fy8dTjbkD6/ma+bNA8beH9XEn2f4a/EWcoyr/oizTgE9NxF0Ntbi61o2m6tLa618JPEtsskCtFcazp090WGSCqCMXJQ5JOcrn8qMRltWhFqlKtGXn7OX/pdR/gzy6OaSrWlKlBrycv/bYntX/Cy7f+9o3/AIHP/wDGquN46Cpve58LquNxLa4gwP8AvmvI9N1f4VKH/tPw3fucjZ9m8EXy4HfO6I57VpQeKPhZZxlNN0jxDaKx3OF8FXZ3H/vzXDGlmadnOT+UEvvTk/wOp4iLV1SS+cm/yX5nfn4l6fjjVfCBPYDxBHk/+O064+JGlzW5jMUIY4zjVIF5z6h815/L4y8AuF2DxRCQc5TwRdZ/WE1OvxF8MwqzJqvjmQ8cHwbcsf8Ax6CvQWGxkrONS3e80/yofqc31ma0dJP0X/3Q7eT4s6Ha4bVNL1uxjc7Y3ewkIdvQfLVq5+JukwsAuheKZ8jkx6RLx9c4rgx8R/DI6ar4z/8ACJuP/keopviB4SmAE2oeMXA6Z8E3HH/kvW9LD4yCV6kJd7uWv3U1axlOtOd7Qa9Ev1qM6/TPihqGoSlIfh94hiAYAvcmOEDPf5iCR64zit258W3Rht2tbG1WQn/SEuLrGwf7JVW3H8q8nu/F3gi52+Zf+Nk25x5Xg+7j/PbCM/jUNtr/AMNVlLXMnjudSPujwveoc+ufJrlxlHN6tT9zUpQj5c7f/kytv6GlB04w/eKcn6QS/CV/zO01/wCI3i5ZSujeC5ZlVyA8t5BGGX1+8Tn8BUEWqeOktoL7UrrwhA8w3LHdxXEpTPO3IcKSB1IGK5v/AIST4Uf8+/j3/wAJ6+/+MUv/AAknwo/59vHv/hO33/xiuWrgcx5Vy+ylLvL2j+dm5R+5RLhGlKTdSVRLsuRflZ/e2dAnjHxJqU8dqPHng+wAJZn0+zeWU4B42ySbcfkeKy4vGd7/AG1cWjfF20ilVQpM2jRRR5UnOGdwmeexJP4VnXfiL4YSRgW6+O4Wzyx8NXzZH08mqT698PvNGE8V3AUdLzwhfuhz6BUUgjH05r0KGLx3N/tEWo/3I0n+M3r6WXr0OetgU1+6mm/70qi/CO3rd+h1Z8UamxCx/Gjw6p7mS1swP0lNW4tS8USxrJH8YPDTowyGW0tyD/4/XEP4k8AwlXTQdQu+eY28JarDxjruCt+WKF8ZfDm2VS/wxe7QH5lj8LX5kOc87pIOefU1rWxit7s6qfnSpS0/7dj/AF2IpYCvf3+VryqVF+Z3i6fd3CC4uPjHcLK5y/kXNske7vtGw4Htk4re0dtKsnjkn+Ij3TKm1xLfxsGOOuOmfwrxK68W+CIbwah4a8I+O/Dd8GLGSz0i7eNgSCVMMkRj28dAAK15PiRr9poy3EdwbyQAHy5vBtwZipPG7ZgFgCMgIOhqpVcvqRXtKtR+sakb/KMLP0v8hRw2Mpy0px+UlL85J/h8z2e68QeHbaMSSeLQwJxiOZJD+SqTXE+JNYkmvpbrS/ibLb27EBLWPR/NZeOSWZlz+n0rlfDnxwvrjy7C/wDh1qLXW8KbtNGuY4nB77Gj3DuTyfbNaOufGrwxY3UllqVxHpJiI86SHQrqaROnAVogAfrn6VFbCUqEr0cPKpp199firL5tNeRUZ+3XLVrKGvnF/wDpSb+V16j/AO19Ubh/iReyL3V/D0ZB+o8yqp1nxVaWMV5ba7YaiUKq0N5p0MavxznZJ5vB7gDOKm0/4j/DHU4YryabxlrMLOXBXw5e+Q5BI4CQ446YBxxWrp/xN+GVvHBJ/wAI54jE6KMufB94GzjknEOM/TiuWEMRK/NhKC/xQTf3L/5I6HgsPpavUfpJ/q3+Q7w74k8RalaSR3UvhHTcnHm4KMnPJAkdiePYfWt3RHksYFs7fXPCVy7sMtNI8jux47v+g4qh/wALi+Hv/QH8Tf8AhJ33/wAZpk/xd+HM8TRTaH4keNhhlbwle4P/AJBrKhl1WlN1XGnKX+GyXlFXsvWzb6tnVN0pQVNOaS89X5t21/LtY3byHx0JydO1rwxbwkA+WIyAD37H+dYGrx/ER79Ix498MWcrADySzZJJ4IHHWqv/AAsn4Uf9Cvr3/hIXv/xmpY/il8MI7eS3j8O+IVik++g8I3uG+v7mvXhjMdBJQp018r/ojhnl+Fn8U5v52/UWfRvimih5/FWh6lErqZLWOeS3aVdwyokGdnHfBqb7L4u/6F+1/wDCxn/+N1T/AOFk/Cj/AKFfXv8AwkL3/wCM0f8ACyfhR/0K+vf+Ehe//Ga2/tLMP+fcPk5L8kjNZXg19ufzs/zuTvp+uFw9z4L0C4kZxh7nxPJI7HHC5MWSMDpVu1i8QWqsIfh54Qwxyd2tbv5wmsif4kfCwtF5fhnxAoD/AD7fB95yMHrmHpnHTmpf+Fk/Cj/oV9e/8JC9/wDjNS8xx70cIf8AgUylluEi7qUv/AYf5Gz5vib/AKJ74N/8Gy//ABipbXxF4m0tZ4R8N7UuwDI2mapbmJjg8OX2EHp0B4P4Vg/8LJ+FH/Qr69/4SF7/APGaP+Fk/Cj/AKFfXv8AwkL3/wCM1LxmMekqUP8AwKZawVCLvGpJf9uw/wAjpG8W+NrZZFn8B29xI0YaFrLWYWj3c8OXCEdugbg1L/wkPxA/6FXw7/4Pz/8AGa5b/hZPwo/6FfXv/CQvf/jNH/CyfhR/0K+vf+Ehe/8Axmo+s4r/AJ80/wDwKZaw1P8A5/T+6J0N14v8Z2rhLrQfC0DMMgSeI9pI/GKof+E58U/9Anwh/wCFMP8A41WXafFX4Z2m77L4f8RQ7sbtnhG9Gcf9sasf8Li+Hv8A0B/E3/hJ33/xml7bFv7FNf8Agb/HmX5D9hT/AOfk/wDyX/5FllPGvihZHkGleEyXxkHxQCBj0HlcU/8A4TnxT/0CfCH/AIUw/wDjVZ0fxh8AieUtpPigoduwHwleYHHOMQ5/Opf+FxfD3/oD+Jv/AAk77/4zR7XFfy0/un/8mL2FP+ef/kv/AMiXP+E58U/9Anwh/wCFMP8A41R/wnPin/oE+EP/AAph/wDGqp/8Li+Hv/QH8Tf+Enff/GaP+FxfD3/oD+Jv/CTvv/jNHtcV/LT+6f8A8mHsKf8APP8A8l/+RLn/AAnPin/oE+EP/CmH/wAao/4TnxT/ANAnwh/4Uw/+NVT/AOFxfD3/AKA/ib/wk77/AOM0f8Li+Hv/AEB/E3/hJ33/AMZo9riv5af3T/8Akw9hT/nn/wCS/wDyJZfxf4yupESB/AulKAS8lxqzXQbpgBUCEd+cmo5vE3jOMYm1HwFqcMgZHitr+W0kXI+8JGL/AMs+9Rf8Li+Hv/QH8Tf+Enff/GaiuvjD4BNtKItJ8ULIUO0r4SvCQccYzDjP14p+2xnanb/DL/5K/wCIfV6O/NO/qvytb8C5F4k8cSRiRvEHw5ty3PlNJM5T2LCQBseuB9Kd/wAJB43/AOhn+HH/AJH/APjlVv8AhcXw9/6A/ib/AMJO+/8AjNH/AAuL4e/9AfxN/wCEnff/ABmj2+N7U/8AwF/5h9Ww/wDNP/wL/gFn/hIPG/8A0M/w4/8AI/8A8co/4SDxv/0M/wAOP/I//wAcqt/wuL4e/wDQH8Tf+Enff/GaP+FxfD3/AKA/ib/wk77/AOM0vb43/p3/AOAv/MPq2H/mn/4F/wAAs/8ACQeN/wDoZ/hx/wCR/wD45UQvfGCqLwfEzwm9z5hY2TWii2C5PyiQP5mAMe/vUf8AwuL4e/8AQH8Tf+Enff8Axmj/AIXF8Pf+gP4m/wDCTvv/AIzT9vjuns//AAH/AIIvquGe7n/4ETyav40uykMvjrwLpsW7Lz2cLSSAYPAWSTacnFbPg4au3iDfe+PLHxDAtrIPs8FrHCUYsmHOxjkYBHPTPvXP/wDC4vh7/wBAfxN/4Sd9/wDGa2/A3jzw14p182OhWWtW0sdq8shu9Dns4yoZB9+WNctzwoPIye1NVsY3afJbyjr99xrD4ePvJyv5ydvu2O5ooorQoKKKKACiiigAooooAKKKKAKusaha6TpN5ql9J5VrZwPcTv8A3URSzH8ga8h0rxl4+1z4QXPxWsJLa3Bhl1Cx0B7YMktnGThZJfv+a6KW3KQoJA2nv33xh0y61r4T+LdJsQTdXmjXcMKj+J2iYAfiePxrgPhlqljH+xvp+oSTRrbW/hSRJWJ4VkiZGB/4ECKAPUPA3iSw8X+D9J8T6WW+x6napcRhvvLuHKn3ByD7iuJ/aU8beJvAHw4n8R+HIdMZ4riCGR7vcxUSSBMqgwCRuB5OPY0n7LFhcaL+z54LsdRJiuJLLzVSQ4OJHaRRg99rDisX9tf/AJN/1P8A6/7H/wBKY6APZbR2ktYZG+8yKx+pFS1Bp/8Ax4W//XJf5VPQB80ftZpI/wAT/AXlrvCTrPIgTcZRF5kqpgAnlkX6dat+FW8VS6Nbz6lpcc4UNdeUYPLmklLtIQzuC/VsYQbdo4B6Uz9qzxPF4V8caHqUVvb3Gpx6dILFZJFDJI7lNygnBOGI5BAzntWd8QPHGk+F7K2uda8a+ENQu1jDSJbGaYxEgZVTHLlzk/3QSBk4rKKxMqs404x5ZKzk73SWrStKNr335lr6I8TFRlFXlGXxNq1rO9l1Tbty2tZ7dEdfaaN4kkmOoXmieHp3nQBpda1UXMMSE55hEScgcdRycnJqXxl4z+I2lWq2+kL4I1O9lYRr5MNx5cII/wBYzFsED0GSenFcF8OtW1vxLPNqmoeIvDvhLTiS1oL3VYzcyqTxmFZW8sEZ+85PTgg5r0G2XTUKPN8WfDkhDZK/b02sPQ/vc/rXU54jSFN0lFLRcslbyVub9CaEZxu3SmpN780f+B+JycXw58VeI4rHUfHWrweL5w5k+yXuoJHp1tLubDpbRgKwAbHzl+nbO2u0Gn+LLdjZ3On6Hq1jGsaW0FtrZsraONQP3fkrHggEfkAO1Fz/AMI5OSx+IXhFJcDbKuoHcpHQjM5H5ioro6fcWzwyfF7w+6sOQ19Hg/X95T9riqUY8jp3b192ennfmu7fK5tKi6jftIz8tYu/la1tfRll7jVLaJrIeB/DtiZiV+1Q6mLiSAkcOA0QJA46NWYnhfU3mtDLd+DLeSBRF9ttkuxcqm4FmX5tu84zkjr6VWi0zR1z5nxG8B3LZyHnnJYD0yLgcfhT/wCz9E/6H34ef9/n/wDkmsq+NzSnL/ZqkLdbxn/8nK6t6ehnQowabrUpp7aOG3y5d/6ZY8GeE9U0zT76y/4T99Njurt3u5I7NJLu5GeH+0sxYnHAJXI54711mleFPhvp8sl1JawapeOPnudSZruV+neTPPAxXCQaVoskwkuPiF4IiVZG+SK5HzLu45Mx7f8A1+a1vsfg3/oc/A//AIGn/wCSKyr185rvmVemm9/dmtfk3ddrs7afsZycq1Kcn3k1J/i9PkepDWtMjyGcwt1CsmC30pW1zTkyJZWiOMgOuC30ryz7H4N/6HPwP/4GH/5Io+x+Df8Aoc/A/wD4GH/5Irh+q5p/z+p/dL8f6R2/WKf/AD7l/wCS/wCZ6o2tWiqWZJwAMk+XVH/hMvD3/P8Ax/8AfQ/xrzn7H4N/6HPwP/4Gn/5Iq40vhNozH/wlfw5wV25Hlg/n52c+9P6lmT/5iKa/7dk//kRfWaa/5dSfzS/zO6/4TLw9/wA/8f8A30P8ar6h4t0Wa1dIbm2l+6T5kqqPvDtnJ/CuHtI/B9szMni7wA5IxiWcSD8A05xTr2bwu1syx+KPh0WyMbDErdR3MtOWX5g3b63C3lTaf4yYli421oS/8CX+R3x8W6UAT9otuP8Ap7i/+KqqPG+myf6tWAxnMiOM/TCmuDNn4MJP/FZeB/8AwMP/AMkVYDeGwAB8QPCIA6Aam/8A8kVX9lYt/wDMcl/3DT/VE/XX/wBAz/8AA1/8idr/AMJnY+sX/kX/AON0f8JnY+sX/kX/AON1xe/w5/0UHwl/4M5P/kijf4c/6KD4S/8ABnJ/8kU/7JxX/Qf/AOUl/wDJB9ef/QM//A1/8idp/wAJnY+sX/kX/wCN0f8ACZ2PrF/5F/8AjdcXv8Of9FB8Jf8Agzk/+SKN/hz/AKKD4S/8Gcn/AMkUf2Tiv+g//wApL/5IPrz/AOgZ/wDga/8AkTtP+EzsfWL/AMi//G6iXxdYLcyTfucuir0lzwT/ALHv6etchv8ADn/RQfCX/gzk/wDkiolk0D7TID4/8KeXtXaf7VfBOTnj7Rn06/40v7JxX/Qf/wCUl/8AJC+vP/oGf/ga/wDkTuf+EzsfWL/yL/8AG6P+EzsfWL/yL/8AG64vf4c/6KD4S/8ABnJ/8kUb/Dn/AEUHwl/4M5P/AJIp/wBk4r/oP/8AKS/+SH9ef/QM/wDwNf8AyJ2n/CZ2PrF/5F/+N0f8JnY+sX/kX/43XF7/AA5/0UHwl/4M5P8A5Io3+HP+ig+Ev/BnJ/8AJFH9k4r/AKD/APykv/kg+vP/AKBn/wCBr/5E7T/hM7H1i/8AIv8A8bqrqPiLQdStzb6jY2F5CWDGOeF5FJHQ4MeM1yu/w5/0UHwl/wCDOT/5Io3+HP8AooPhL/wZyf8AyRQsqxSd1j//ACmv/khPG3VnhX/4Gv8A5Edd6J8O5p2uYdHisLkyCRZ7Ga4t5I2znKFFG38MVEumaPDDELHxT4nsp4sbZI9VuZFGBjHlyoyY9iDin7/Dn/RQfCX/AIM5P/kiorWTQDbRGbx/4UWTYNwbVXJBxzki4wfwroWEzD/oY/8AlNP/ANuOa9Hpg7ek0vyiTeXP/wBFH8T/AJx//I1MmXUFjLWfxJ19bhSGjNxGkseQf4kEClh7bhTt/hz/AKKD4S/8Gcn/AMkUb/Dn/RQfCX/gzk/+SKX1LHf9B6/8Ex/zDnp/9Asv/Br/AMhP7T8af9FGsf8Awnz/AI0f2n40/wCijWP/AIT5/wAaXf4c/wCig+Ev/BnJ/wDJFG/w5/0UHwl/4M5P/kin9Sxv/QdH/wAEw/zDmh/0Dz/8Gy/yE/tPxp/0Uax/8J8/40f2n40/6KNY/wDhPn/Gl3+HP+ig+Ev/AAZyf/JFG/w5/wBFB8Jf+DOT/wCSKPqWN/6Do/8AgmH+Yc0P+gef/g2X+RcsNc8RQxBb3xTo2oSLJ5iSS6NMhXjGMI4Hr+daEXivWRKhl1jQmjDDcq6XcqSO4B8w4Pvg1z00mgbovL8f+FCN/wA+NVYYXB65uOecdOal3+HP+ig+Ev8AwZyf/JFZvLsW/wDmPX/gmP8AmaRrpL/dpf8Agx/5HYz+N7KKCSURiUopYRxiQs2OwygGfxFZH/C0YP8AoWtb/wC/A/xrF3+HP+ig+Ev/AAZyf/JFG/w5/wBFB8Jf+DOT/wCSKmOVYlb47/yn/wDbFyxk3th2v+31/wDInTad8RLO6SV5tPutPWMAk3iMgYc5I2g9Mc5x1qT/AIWJoP8A0EdP/wC/7f8AxFcnJ/wjMsbRyePvB8iMCrK2pOQwPUEG45FUP7F8Af8AQzfD7/v/AP8A2+j+ya73x/8A5SX/AMkL67US0wzf/b6/+RPQIPHmk3Gfs9zaTbevlvI2PrhKl/4TOx9Yv/Iv/wAbrgrSz8HWYf7F408EWu/G4wXpTOOmcXHPWs7+x9L/AOi26d/4MYP/AIqhZPiG/wDkYW/7hf8ABB5hNJf7I36TX6xPSY/F1gk8so8nMmM4EueBjn5P8Kl/4TOx9Yv/ACL/APG6840q00i1u5WuPixol7HtCoLnU02knkkeXIpBHTk456Vp7/Dn/RQfCX/gzk/+SKTyjEp/8jD/AMpL/wCSKjj5Na4Vr/t9f/Inaf8ACZ2PrF/5F/8AjdH/AAmdj6xf+Rf/AI3XF7/Dn/RQfCX/AIM5P/kijf4c/wCig+Ev/BnJ/wDJFL+ycV/0H/8AlJf/ACRX15/9Az/8DX/yJ2n/AAmdj6xf+Rf/AI3R/wAJnY+sX/kX/wCN1xe/w5/0UHwl/wCDOT/5Io3+HP8AooPhL/wZyf8AyRR/ZOK/6D//ACkv/kg+vP8A6Bn/AOBr/wCRO0/4TOx9Yv8AyL/8bqK68XWE9tLC3kESIVO4SkcjvhB/OuQ3+HP+ig+Ev/BnJ/8AJFRXUmgC2lMPj/wo0mw7QuquCTjjBNxgfjS/snFf9B//AJSX/wAkL68/+gZ/+Br/AORO5/4TOx9Yv/Iv/wAbo/4TOx9Yv/Iv/wAbri9/hz/ooPhL/wAGcn/yRRv8Of8ARQfCX/gzk/8Akin/AGTiv+g//wApL/5If15/9Az/APA1/wDInaf8JnY+sX/kX/43R/wmdj6xf+Rf/jdcXv8ADn/RQfCX/gzk/wDkijf4c/6KD4S/8Gcn/wAkUf2Tiv8AoP8A/KS/+SD68/8AoGf/AIGv/kTtP+EzsfWL/wAi/wDxuj/hM7H1i/8AIv8A8bri9/hz/ooPhL/wZyf/ACRRv8Of9FB8Jf8Agzk/+SKP7JxX/Qf/AOUl/wDJB9ef/QM//A1/8idp/wAJnY+sX/kX/wCN1b0TW7XV9UCw+Vvihc8B84JXuVAxwPXtXAb/AA5/0UHwl/4M5P8A5Irf8ANpp8RMNP8AE+i6sfsj74rG9MrL86YYqZX46jIAxn3FVDLcRSkpyxnOl09mlf530GsW5vl+ruPnz3t8uVHfUUUV1mgUUUUAFFFFABRRRQAUUUUAFcXP8MfCc0NzYm3uk0i7uDc3OkJcMtlLIW3MTEOMFhuKjCk5yDk12lFAHOeKfBXh/wAS6poGparbSvceH7r7Xp/lzNGscmAOQpww4HB/xqD4l+AtE+IWh/2J4hl1A6eZFkeG2uTEHZTlSxHJwcH8BXVUUAVtLsxYWEVmtxPOsShRJO+5yB6nvVmiigDxj4xfDOx+IfxU0VNQhiWG10uRxcGFJGjYS8Da4IZTnGDkc9K6Xw38FfhfolkkC+BvDt3L5apJNc6bFIX25wcMDjqfc8ZJxXavb2412G62R/aDbPHuLndsDIcBehGTyeo49au1o5JR5Y7dfX/Il8058891ovT/AD8zj/8AhVnwx/6Jx4P/APBJbf8AxFH/AAqv4Yf9E48H/wDgktv/AIiuworMo4//AIVX8MP+iceD/wDwSW3/AMRR/wAKr+GH/ROPB/8A4JLb/wCIrsKKAOP/AOFV/DD/AKJx4P8A/BJbf/EUf8Kr+GH/AETjwf8A+CS2/wDiK7CigDibT4XfDRkcyfDnwiSJHA3aBbpwGOONnIx379am/wCFV/DD/onHg/8A8Elt/wDEV0+nlTFJtKEedJna5bncfXofboOlWaAOP/4VX8MP+iceD/8AwSW3/wARR/wqv4Yf9E48H/8Agktv/iK7CigDj/8AhVfww/6Jx4P/APBJbf8AxFH/AAqv4Yf9E48H/wDgktv/AIiuwooA4/8A4VX8MP8AonHg/wD8Elt/8RUN78LvholszR/DnwirZGCugW7nqO2yu2qtqe0WT7igGV++5QfeHcc0Acx/wqv4Yf8AROPB/wD4JLb/AOIo/wCFV/DD/onHg/8A8Elt/wDEV2FFAHH/APCq/hh/0Tjwf/4JLb/4ij/hVfww/wCiceD/APwSW3/xFdhRQBx//Cq/hh/0Tjwf/wCCS2/+Io/4VX8MP+iceD//AASW3/xFdhRQBx//AAqv4Yf9E48H/wDgktv/AIioU+FvwzN5Kp+HPhHYEQqDoFuACS2cNs56Djtx6121V4tv9pTjKbvKjyA5LYy/VegHXnvz6CgDl/8AhVfww/6Jx4P/APBJbf8AxFH/AAqv4Yf9E48H/wDgktv/AIiuwooA4/8A4VX8MP8AonHg/wD8Elt/8RR/wqv4Yf8AROPB/wD4JLb/AOIrsKKAOP8A+FV/DD/onHg//wAElt/8RR/wqv4Yf9E48H/+CS2/+IrsKKAOP/4VX8MP+iceD/8AwSW3/wARUNj8Lfhm9lA8nw58Is5jUsW0C3Qk45yuzj6dq7aq+mbTptsVKFfJTBRy64wOjHkj3PWgDl/+FV/DD/onHg//AMElt/8AEUf8Kr+GH/ROPB//AIJLb/4iuwooA4//AIVX8MP+iceD/wDwSW3/AMRR/wAKr+GH/ROPB/8A4JLb/wCIrsKKAOP/AOFV/DD/AKJx4P8A/BJbf/EUf8Kr+GH/AETjwf8A+CS2/wDiK7CigDibn4XfDRXgCfDnwiA0mGxoFu2Rg9fk+UdOfw71N/wqv4Yf9E48H/8Agktv/iK6e9K+Za7ig/fcbnK87W6Y6n2PHftVmgDj/wDhVfww/wCiceD/APwSW3/xFH/Cq/hh/wBE48H/APgktv8A4iuwooA4/wD4VX8MP+iceD//AASW3/xFH/Cq/hh/0Tjwf/4JLb/4iuwooA4//hVfww/6Jx4P/wDBJbf/ABFH/Cq/hh/0Tjwf/wCCS2/+IrsKKAOJh+F3w0NzOrfDnwiVXbtB0C3AHHODs+b+lTf8Kr+GH/ROPB//AIJLb/4iunt9v226wUzlM4ck9O46D8OtWaAOP/4VX8MP+iceD/8AwSW3/wARR/wqv4Yf9E48H/8Agktv/iK7CigDj/8AhVfww/6Jx4P/APBJbf8AxFH/AAqv4Yf9E48H/wDgktv/AIiuwooA4/8A4VX8MP8AonHg/wD8Elt/8RUN98LfhmlnM8fw58Iq4jYqV0C3cg47Ls5+neu2qvqe0abcligXymyXcouMd2HIHuKAOX/4VX8MP+iceD//AASW3/xFH/Cq/hh/0Tjwf/4JLb/4iuwooA4//hVfww/6Jx4P/wDBJbf/ABFH/Cq/hh/0Tjwf/wCCS2/+IrsKKAOP/wCFV/DD/onHg/8A8Elt/wDEUf8ACq/hh/0Tjwf/AOCS2/8AiK7CigDj/wDhVfww/wCiceD/APwSW3/xFXNB8G+EfDesrdeHfCmh6PPJbyRyS2GlxQsy7kO0yIoOMjO3vjP8NdJVeTb/AGlAMpu8qTALkNjKdF6EdOe3HqaALFFFFABRRRQAUUUUAFFFFABRRRQAUUUUAFeZ23jDWPF/xT8QeDvDV4mmaf4ahiGoah5AmklupQSsKBvlVVUZYkEk8DGMn0yvDf2fIJNN+NPxm0y8+S6k1qC9RW+88MqOyN9MGgDtfhH43u/E8/iLw/rcMEHiDwzqJsb7yARHOpG6KdFJJUOvOCTg55Nd7Xh/wOtpLn9oX4za9C26xe9sbFWU8NNDARIPqpIH417hQBC+/wC2xY8zZ5b5xjbnK4z3z1xjjrntU1c14o03xFL4h0zWPD8+nBrW1ubaaC9MgRxK8DBhs7r5JHP941uj7dkZFvjKZ5PT+L/61AFiiqx/tDYeLXdsOOWxuzx+GP1p3+l+Z0g2bz3OduOPxz+lAE9FVh9u2jItt21M8tjOfm/DHSlP27BwLf8Ajxkt/wAA/wDr/pQBYoqD/TN44t9u5c8nO3Hzfjnp7Uz/AImGzpa79nq2N2f5Y/WgCSz3+W+/zM+a+N+M43HGMdvTvjrU1YnhvS9Q0m2uoJLiG4E2oXd0rHdlUlkaRF/Ddj6DitMfbuMi3/gzgt/wP/6360AWKKrH7dtOBbbtrY5bGc/L+GOtO/0vzOkGzeO5ztxz+Of0oAnoqt/xMNg4td2wZ5bG7PP4Y/WlP27JwLfGXxyen8P/ANegCxUN9v8AszeX5m7Ix5eN3UevFNH27IyLfGUzgnp/F/8AWrJ8V6XqmteH59Nhube1lk2MJRu4ZZVYdOxVcH60Ab1FQf6X5nSDZvPc5244/HP6U0fb9oyLbdtXPLYzn5vwx0oAs0VXP27naLf+PGS3/AP/AK/6UD7buGRb7dy55OduPm/HPSgCxRVX/iYbOlrv2erY3Z/lj9af/pm88Qbdzdznbj5fxz19qAJ6hTf9tlz5mzy0xnG3OWzjvnpnPHTHemj7dgZFvnCZwW6/x/8A1v1rKtdM1SHxTqesG4tmiu7KC3jhy2EeJ523f8CEq5/3aAN2ioP9M39INm8dznbjn8c/pTf+Jhs6Wu/YO7Y3Z5/DH60AWaKrn7dk4FvjLY5PTHy/r1oH27IyLfGUzgnp/F/9agCxRVY/b9hwLbdtbHLY3Z+X8Mdfenf6X5nSDZv9Tnbj+ef0oAnqGx3/AGKDzPM3+Wu7zMbs4744z9OKYPt20ZFtu2rnBbGc/N+GOnvWX4S03VNF8KaTo9xcW11PY2SWzzfN+8ZECq3PPJBJoA3aKrj7buGRb7dy55OcY+b8c9Kb/wATDZ0td+w92xuz/LH60AWqKg/0zf0g27m7nO3HH456+1IPt2BkW2cJnBbr/H/9b9aALFFVj9u2nAts4fGS3XPy/p1p3+mb+kG3eO5ztxz+Of0oAW6374NvmY835tmMY2nrnt06c9KmrB17S9W1KfRpori2hawvVupFy2JQI5UKfT5wfqK1j9t3HAt8ZbHJ6Y+X9etAFiiq4+3ZGRb/AMGcFv8Agf8A9akP2/YcC23bWxy2N2fl/DHX3oAs0VB/pfmdINm/1OduP55/Smj7fsGRbbtq55bG7Pzfhjp70AWaKrn7dztFv/HjJb/gH/16B9t3DIt9u5c8nOMfN+OelADod/2qfd5m35du7G3p2xz+dTVgaZperWmu6zqT3FtIt+sJiiy2ImRdp/A9eK2P9M39INu89znbjj8c/pQBPRVcfbsDIts4TOC3XPz/AP1qD9uwcC2zh8ZLdf4P/r0AWKKg/wBM39INu8dznbjn8c9Pamf8TDZ0td+wd2xuzz+GP1oAtVDfb/sU/l+Zv8ttvl43Zx2zxn68U0/bdxwLfbubHJzjHy/jnrWV4u0zVNa8Karo9vcW1rNfWT26TfN+7Z0Ks3HPBORQBu0VWP27acC23bWxktjdn5fwx196d/pfmdINm/1OduP55/SgCeiqw+37BkW27aueWxuz834Y6e9Kft2TgW+MvjJb/gH/ANegCxRVcfbdwyLfGVzyemPm/XpTf+Jhs6Wu/Ye7Y3Z4/DH60AWqhff9tix5mzy3zjG3OVxnvnrjHHXPak/0zf0g2bz3OduOPxz+lZkmmX83izTdYluIUgtNPuLeSFN3zySvA270wvlMPX5qANqiiigAooooAKKKKACiiigAooooAKKKKACuc1vwdpWpa+viCKW80zWBb/ZXvbGURySw5yI3yCHAPIyCRk4Iya6OigDJ8KeHdH8L6Qul6LaC2t/MeZ8sWeWVzl5HY8s7HksTk1rUUUAFFcM/xC+3a1rmm+FtCudf/sB/K1KWKdIlWbbuMEe7/WSAdRwASBuzxXQeCfE+j+MfDFl4j0G5+0WF4m6Niu1lIOGVlPKsCCCOxFAGzRRRQAUUUUAFFFcTrnxI0jSviVoXgOSw1N9Q1kTNDP5BS3URKWb52xuPQfKD160AdtRWJ448RReF/DVzrElncX0qFY7eztxmW6mdgscSD+8zED9a5r4feOPF3iXXGstX+GOseGLSOFpGu7+6iZWbIARQmSSc59MA0AegUUUUAFFFFABRWX4n1u30HSzeTW91dyO4it7W1j3zXEh6Ig9eCckgAAkkAE1x3g34o/2t49k8D+IvCer+Fdda1N5aQ3rxSx3cIOGZJImZcjuufX0oA9ForjLrx4tz4r1Twz4Y0iXXb/R4kk1MpOkMVuzglIt7felIBO3oB1IrV8BeLdH8a+HI9c0WSQwmR4JopV2y28yMVeKRezKR/IjIINAG9RRRQAUUUUAFFZfizXtO8MeHL7XtWlMdpZxNK+1dzNgcKoHVieAPU1neB/GFh4m+HWneNjE+n2N5ZfbWWZgTDHgk7iPQCgDpaK8q8N/FDxhrutWNrB8IfEVnp15Ku3U7u4iSJITz5rKMsPl5xjPIFeq0AFFFFABRRRQAUVwml+PpvFOt3un+B9LTU7LT5jb3msXE3l2YmH3ooiAWlYZ5IAUdNxNaHirxra6L4g0nwvbWj6n4i1WN5bexhcIFiT780jn7iA8ZwSTwAecAHV0Vy/g3xpY+IdX1fQZbaXTdd0Z0W/sJmDMquu6ORGHDxsOjD6EA11FABRRRQAUUVw/xH8dal4Z1Kx0vQfBereLL+5ieeWGxdIxbRAgBnZ8KNxyAM5O0+lAHcUV5f4I+KWt658QIfB+tfDjWPDdzLYyX3m3d3DIBErBckISeWOBnHf0qTxl8Tta0vxLd6P4Z+G+veLI7LbHdXljLEkUcxUMYvnPLBWUnHTcBQB6ZRVDw7d31/odle6lpzabeTwrJLaNIHaAkZ2FhwSOhxxnNX6ACiiigAoorhT8Qm1DVdcsvCmgXOvroMvkahLHOkS+ft3NDFu/1jgEZHABIGc0Ad1RXEL8VPBbfDA/Eb+0m/sMJyfLPnCXds8ny+vm7/l2+vtzRF8QPsWvaJpHinQrjQJNeYx6bJLOkqPMF3eRIV/1chHQcgkEBs8UAdvRRRQAUUUUAFFcVP8SNJj+Kun/Dsafqf9o3tpLdrcPbmODZH1wzYL8jHAx71f8AHHjPT/C9zpOmtDLfaxrNwbfTdPgIEk7AbnYk8KiryzHpx1JAoA6aiuU8N+NbbUfFl94Q1Oyk0nxBZ26XZtXkEiT27EgSxOPvKGBUggEHqOQTzfiz4o65p/iO90rwz8M9f8VW9i4hnvrKWKOITYBaMbzklQRkjucdqAPT6Kp6JcXl3o9pdahZfYbuaFZJrbfvMLEZKFhwSOlXKACiiob25S0tXuJFldUGSsUbSOfYKoJJ+lAE1Fch8KvH2mfETRL7V9Jsr60gtNRmsGS8QJIXjxuJUE45PQ88VzPjr4y/8I7NeT6b4D8T+IdG052j1DVbCFfIhZfvhdxBk24IYgbQQRnigD1WiuMvPid4Rt/hnb/EL7e0uiXUaNbGOMmWd3O1YlTqZC3y47EHPAJptv49Fr4m0jw/4o0WbQbrW1c6Y8k6SxzOg3NCzL9yXHO3kHnDE8UAdrRRRQAUUUUAFFFFABRRRQAUUUUAFFFFABQc4OOvaiigDwv9iffJ8LNXubjJvJvEt+10zD5mk3LnJ7079j1rhdC8e2+CLGDxtqMdmOyplCQo9Mk/rXW6T4G1zwnqviSXwXqGnxWPiC7a/eC+Rz9hunGJJI9vDqxw2w45z82Dgb/wx8Gad4B8G2nhvTpprlYi8s9zN/rLmZ2LSSt7sxP04FAHTUUUUAFFFFABXhvxb/5Oo+EP/Xvqn/otK9yry7x14D8Ua78ZPCXjezu9His/DiXCLbymTzJxMoViSBhcYGOvegDofip8PdJ+Iuj2um6vqGr2K2lwLqCTTrowOsoBCtkA5xk4+tee/Cqbxv4D+MMnwu8S+JLrxXo17pbalo+o3nN1CEcK8UjfxDngk+mMZwPQ/HWn/EK41PSb3wZ4g0eygty32+w1CzMkd0DjGJFIdCOcY9efSp9B8LyxeK5/F+uXMN3rUtoLGIQxlIbW3DbyiAkklm5Zj1wAAAKAOoooooAKKKKAGyKCA3lq7rkpnscevavC49S8SaZ+0no998QPDGmwx6vaTaX4cvbC+adbUgebIkisiktJj72BgDA6k16p4/s/F95o8S+CtZ07S9SjuEkZr+0M8M0Y+9GQCCueORzxVG18LahqniLSPEfi64sprzSEk+w2tijrBFLIu15SXO5228L0Cgt1JyADzv8AZIMs0nxQurzJvn8cXyzFvvbVCbR9ACcUv7MZkj8ffGK1iyLGPxbIYVHCq5B3gDp2Wu0tfBOreG/GXiDxD4Pu7EReImSe+sr8P5cVyi7fPjKc/MuNyEclQQRWn8LPBFn4E8OS6dDdSX17eXct/qN7Iu1rm5lbLvjsOgA7ADqckgHWUUUUAFFFFAHiPjTx34K8QW3iS6vvGWgQWuk2d5a6dYy6lCsk10I3R5yhbdwcogx/ebutO+A9r4b8e/swaL4Pk1iOeNtGitdSi0+8Xz4M87G25KEgEYI5Ga7vxN8NvBuraPqdvF4T8ORXt5byoly2mQllkdSA5O3OQTnPWub8M/DXxB4P+Dum+GfBOraJonia2jgW61MaYskd4UJyJBwxyD945I7daAOLk0Xxf8EPHXhb+zPF+r+I/BGu6nHpM+m6tL50tjJID5bxOedvynjgeoOcj6JrirfwtrWuajomp+N7zTZpNGl+1W9pp0TrAbraUEzFyWO0M21egJySeMdrQAUUUUAFefftIaxf6D8C/GGqaY7x3cWmuscifeTeQhYehAYnPtXoNUPEej2HiDQL/Q9VhE9hqFtJbXEecbkdSrDPY4PWgD57bRvGnwv/AGb9G8UeD/GBZNE0uG+n0mWxhFpdRtiSUEhfMD/Ox3buSOnPFz4ZauviX9rTUteeNlju/AljdWKPz5ccrROcfixH511n/Cs/FNx8M1+F9/4ks5/DojW0bUBC4v5LNSCISM7A5UbDJnpztzW7rPw9W38X6F4v8Jy29hqekaedKNtMG+z3VnxtjYrypQgFWGe4IPYA4vM0P7cRS0yIZ/A6veAcAkXTBCfU9B9K9yri/BXgmTS/GOu+Ntau47zX9ZWKBvJBENpbRj5IY88kZyzMcZJ6Cu0oAKKKKACk2ruLbRuIwTjmlqlr0WoT6JfQaTPFb6hJbyJayyglI5SpCsQOSAcHHtQB558IP+Ki8d+OPHz/ADxTXw0TTWPa2tMq5X2aZpfrtBrkPiJ8H9e8Lxaz47+GHjzxFpmso82p3On3d159nfPy7qyHgEgHHXt06j1r4ceFV8G/DvSPCttcBpLCzWFrjbnfLjLyYPq5LYPrXN6X4a+J974dvvDfjDxbot5bXQeJ9RsbBobt4G4ZdufLVipI3AHHoTzQB03wv8SP4w+HegeKJLb7NJqdjFcSQjojMvzAe2c49q6OqmjabZaPpFnpOnQLb2VlAlvbxL0SNFCqPwAFW6ACiiigArwj4SW/iH4U694z8O6x4X1jUdL1PXZ9Z03VbCFZY3WYLuSUlh5ZXYOW46817vXC/EDQfFvjK3n8ORX8Hh/QLjMd9dW8hkvbmHvHHwFiDDgsdxAJwO9AHyho4vZ/hd4XvHjlj0PW/i6k8cTnKmAuQAexUsD7ZWvdv20PMj+Hnhy6tci+h8V6e1qy/eEmXxg9RXeeMPhn4e174ZxeA7VX0ixs1iOmyWv3rOWEhopFz1II5z1yeec1T1TwPrPizXvDl941vNOez8P3IvYbSwVwt3dBcJLJu+6q5LBBnk8tgYIB6GKKKKACiiigDxDxd/yeZ4I/7Fq9/wDQjUXigyy/tseEYrgZt4vClzJbA8gSGRw5HocAfkK6TXfAnim/+O+i/EOG60ZbLS9PmsFtXaXzZFkJJckDAIyOPrzW74+8Etr3iHw/4r0q8Sy8QaBLI1rJIpaKeGRdssMgHO1gAQRypAODyKAOA+Ipni/bA+GDWYw0+k6lHd44zCELDd7bsY98Vl/ET4S+IPAenax4++F3jvxDZ6haGbVLzS7+6+0Wd9gmSUFDgBiN3r9R1HpWl+B7+bx1fePNc1C3Ouvpv9m6bHbIWg0+LJZmG7BkdmwSSBwAMdSaOn+FviTqvhW78L+OPFOi3trdK0Fxf6fZNDcz27cMhUnYjFSRuUHAPAzzQB1/gHXv+Eo8EaJ4jMH2c6lYw3Ri/uF0BI/M1t1Bp1nbafp9vp9lCsNrbRLDDGvREUYUD6ACp6ACiiorw3ItnNmsTT4+QSsQpPuQCaAPFv2OP+RF8Uf9jdqX/oa16H47vrfw34KnsdJ0+Oa9uYmtNL06MAefO4O1cf3Rksx6BQxNc/8AALwJ4g+H2i6tpes3ml3i32q3GpLJaeYCrSkEoQw6DHXNY2p+FPjjJ4yv/EGn+KPBEay5is47nT55WtYM/cU7hycAscckDsAAAcB8RPBreA/CfwH8ETTi5trbxbZrfuB+7lmL7jx/d3M2M9gK7H9sLzI9D8AXVnldQj8b6eLZl+9krLkZ9CBz9K6TUvhzrviz4dvo/jrxJFc+IBqCajaahp8HlxWU8RBh8tCc7Rt5BOTubkcEXb7wRq3ijxX4d1rxnd6e0Hh2Vrq0srEP5c90V2iaQvyNoztQZwTyx6UAeg0UUUAFFFFABRRRQAUUUUAFFFFABRRRQAUUUUAFFFFABRRRQAUUUUAFFFFABRRRQAUUUUAFFFFABRRRQAUUUUAFFFFABRRRQAUUUUAFFFFABRRRQAUUUUAFFFFABRRRQAUUUUAFFFFABRRRQAUUUUAFFFFABRRRQAUUUUAFFFFABRRRQAUUUUAFFFFABRRRQAUUUUAFFFFABRRRQAUUUUAFFFFABRRRQAUUUUAFFFFABRRRQAUUUUAFFFFABRRRQAUUUUAFFFFABRRRQAUUUUAFV9RF6bKUae1ul1j92Z1LID7gEH9asUUAeRfs+/EzxJ8RNO8Qatr1noml2OjalNpsgt3kZmeJVZpCzHATDemeO1eo6JqdjrWkWmraZcLc2N5Es1vMvSRGGQw9iK+UvgvZ29/+zT8bLe6jLx/23q8m0OV+ZbeNl6EdwOOh710+n6tc+C/2d/hjD4ela1uvFU2l6fcXVxeyhYhJAWbax3+Vu2bRtXjdkDIFAH0lRXkvh/wb480n4gwasNctNN8N3Fs9tf6WdYub4vKc7JoWmQGNwSBgHBHauQ/Z/wBH1rxtY6zqGt+O/FbPoXjS6S2EV8VEscWweXKMYdCONuABzjqaAPomqN/rGm2Oqadpd1eRRXupO6WcJPzTFELvgegVSSfp614F8Uby/sfhR8QvGGn+Nb7VtZ0vUnlsb+xmkit7ELMii0Ch9khRSQ/BBJOeRgL470ux8QftG/CK81GOYy6lol81y0NzLETi33AAowK8semM55zQB7bc63qUXjm08Pp4cvpdPnsnuJNXVl8iGQNgQsOu4jn/ACcbteMalqGrWP7XOhaDFrWpNo9z4Znu3sHnJhEokKBgv0Udc85qL4S3D/FkeNNW8Q6jqcQs/EFzpFha2V/LbCzhhVNrjy2GZGLFizZ6ADjIoA9sor5J8T+N/Gz/ALOXj+C68SalHrfg3xC+kRatbSeVJeRrKqAuR1OGIOMHp3ru/Fi6t4L+K3wy1K18Ua9fN4kvJLDVre7vC9tMph3Kyw/cjKtyNgH40Ae90V87/EvxLe+GPHPiO2+IbeINN0HViieHvE2mzym20z92q7JUjICMJNzZYHd9On0JazQ3FrFcW8yTwyorxyowZXUjIYEcEEc0Aee3vxGutW+IV94E8C6bbanqGlxiTV7+7mMdpYlvuxnaC0kh/ujAGDk8VBqnxH1bwZ4k0nSfiLpdhaWGsTi1sta0+dmthcHpFMjgNHns2WHriuA/YxSa01v4qafqmRrUfieR7pXPzlW3bW+hO7Bq7+3o0bfA1LRBuvrnWLWOyVT8xlyT8vvjP50Ae/0V4J8RI9V8C/EP4d+PL7UtT/se6aLR9ftDey/Z4p5I9sVwY920YfIPGOnc5q3408R3/hjwB8RPitpktw8skgtdKjmuZHt4o0kWDz1jJKjMhd8gfMFXseQD3CivFYfB/wARF1Xw74k0XxBp+nQ27pLqbza7d3sWp27Abt0bxhEY8sGXGM1gaDo+teMvjP8AFTwffePPFdpplgmnPZm0v/LlgaRZH+RgOFznIxzxknFAHu3i3UrjR/C+qara232q4tLSWaKDn966qSq8c8kAV4z8Rvib8VvAfh3w5qutaH4PaXW9Rt9PFtDPcE28kqkgsxABxjBx+Fe7W8fk28cPmPJsQLvc5ZsDqT614H+2x/yLngL/ALHOx/8AQZKAPQtB1r4i2/j610PxTpPh9tKu7KaaG+0yWYlZY2QeW6uOMhyQQT0Nd7XIfGl7yD4U+JbzT9SvNNu7XTZ7iG4tXCyI6IWHJB4yK4H4T6JqM3wu0H4hX/xB1qHUpvCSrI9/eb7CF2iDLcPG3BZMZLE885NAHttYcGt6jJ45ufD7+Hb6PT4rFLlNXLL5EshbaYQOu4Dn/Iz4pqWoah4bvfg/qGleItV1GTW9WSw1K9nnl8rVIpIiTL5TsQoJ+ZSACPpXSeH7/Vl/az8QeH5Nb1K40oeFo7yK0lnLRQyvOFJReg4H15NAHsdYfjnWtR8P+HJtU0vw7e+IbqOSNVsbNlWRwzhSwLcfKCSfpXgvgbS9Z8XWHxYt9X8ceLDFouu3UWnGDUmheEpCCpLpgsBxhPu9SQSc1X8aeMfFGofsWaD44j8QanZa5stEmubWby2nzcrC5fHXIyeMc0AfTqnKg4I46HtS14l8dLnXYfij8LLHSvE2raVBq2oT295HbSjZIqw5BKkEFuTycgcHGQKf8OXvvDP7R3iTwJFres6lo0ugwatFHqV69y0ExlKPsdyWCsOcZxnpQB7VRXyrfeLdU8T/AAp8aeJovEep6V8Q9H1uaGzsILt0eILMFhthbZ2yBk45UlmJOeK+k/BkOqQeF9PTWry4vNRaBXuZJ1jVw7DJUiNVX5SdowOg5yeaAOS8VePtSHxOtvhx4TstOuNaOnHU7ufUZ2jggg3hAAEBZ3JPQYAHOat+CvFnie/8cav4V8UeG7XSprGzhube5trszRXqOzKWTKqVAKgEEZB9sVzXxg+F1n8Qddi8S+EvFM/hzxxoP+jxX9scgZG8RTJ3BDZz6N0YcVjfCf4p+Kv7T8UeDPiPodtF4z8M6a94Lm1AEWoW4GQw9CTt6cHPQEEUAe71QuNY0yDXLXQ5byJdSu4ZJ4LfPztHGVDtj0BZRn3rwLw3pHxK+Ivwx0XxhoniCz03XdQRL6PVF1u6KIS2Wha0EflbRyhXnG3qTU+o6DY6l+2DosmoAvcXHgpri5ktLuaNHmS4C5UqwOzj7vQ9xmgD6FooooAKKKKACiiigAooooAKKKKACiiigAooooAKKKKACiiigAooooAKKKKACiiigAooooAKKKKACiiigAooooAKKKKACiiigAooooAKKKKACiiigAqDUI7qWzkjs7lba4YfJK0XmBT67cjP51PRQB5R8M/gzH4N8N+JfDc/iW41fSvEUtxNexS2iRP5syBHZWU8AgDjFEXwT026+Ev/AArnxF4k1XWdPgWJNOuHSKGWwEX+qMZRR8y9NzZJHHSvV6KAPPvBnw51LRZIbrXPHmu+KbuzRl09tRCCK2YqV3lEA8x8HG5yTgnGM1J8H/h3N8PINYt18QSarBqmoy6lIslosRSeTG/BUn5eBx29a72igDxZf2ftPXwr4k8IDxn4gHhrWZpbiPTF8oJayu27cH273UMAdhO045B61tav8JJL6TwdqMXjTV7bXfCqyRW+qC3gZ5opE2OjIU2Y28A4yPc816fRQB55cfDa4m+LumfEM+JpjPp2nnTo7V7RWV4CSW3PnJck53fpUtt8Nxovi7WPEXhDXp9CbXHEup2n2dJ4JZgMecitgo/POCVPda76igDy3xT8F9I1X4U3fw90/VbrTrW/ujd6hetGs1xdzNIJHkcnA3MwyTjpwAKt+L/hpf8AiTWPB2qXPipoZvC04uYVjsF2zy4CktluAVGMD616PRQBwetfD2bU9O8RaPN4juW0fxBNJJd2stskhiEihXWJz90HGRkNgkkV2ek2FrpWlWml2MXlWlnAlvBHknbGihVGT6ACrNFAHEeIPhzYXfjA+NNB1O88OeI3hEFzd2io0d5GOizxOCr4wMHhhjrUMHw1gv8AxVYeJvGOt3fia+0wltOhmiSG0tHPWRIU4Mn+0xYjtiu9ooAwPiJ4T0vxz4M1LwrrAf7HfxbGdMb4yCCrrnowIBB9qdqHhPQtQ8DSeC7uyWTRZLEWLQf9Mgu0YPYgAEHqCM1u0UAeVeBvg7N4ditdN1D4geJtd0CxZWs9Ju3jWJApyiuyqHkVcDCk7eBxxWr4O+HV14e+JniPxsfEjXcniEQi7tDZKiKIgRHsYNkYDHOc5r0CigArzb41/C6f4mLpME3iifSbXS71L+COCzR2M6AhWLMeQMnjFek0UAc34u8O3/iPwHfeGbjWlgnv7Z7a4vI7QHKOCG2oWwDg+pxWRpXw3tY/g4fhjq+qTajpv9nf2as6xCGUQhdq9CRuAA5746V3dFAHjbfAySbQ/DFlefETxHc3fhe7in0m7aOAfZ0jGFTZs2ucYG59x4x04ro9M+HN5ZfFy6+IjeJ5Z7m501dMktXskCmFWDKdwOd24ZJ6HJ4HGPQaKAPM/CfwuvvDtr4yitvFjyv4pupbuZ309P8AR5ZF2sVG7kbcAA+mayL34HNdfBGy+FJ8YXCaZayKwuRYp5zKsvmqp+bHDd8civY6KAPPPGXw5vvEviPwhrs/ic2914YlaeJUsFKTyMoViwLcArxgdM02TwPJo3xS1X4rXGvXFyx0k2cunxWKkfZ4/wB4ApDbi+4H65xXotFAHyp4fbxhrWnp440T47+GNEg1OR7qCz1TTLKe6tlYnbFJMQHLqPlI7Y2jpX0V8OLvX77wVpt14nW2/tZ4z572yMkcuGIWRVbldyhWwemami8H+EotWOrxeFtDj1EtuN2unxCYt679u7P41t0AcLffD+5Xx1qnjLQ/FepaTqGpQQwz24ijmtHEYIVmjYZLc/eDA9qk8F/DrT9B8Qaz4n1K/uNd8Qayiw3l7doijyVGFhjjUbUTHbknuTXbUUAePeG/gZH4cuLqw0Tx94osPClzO8z6DDIixLuOWRJdvmIh9FIOO/euh8TfDG31Lx3ofjDRtevvD19pVg2mlbSKJ1mtCQfKxIpC4PQgZFegUUAIo2qFyTgYyTk0tFFABRRRQAUUUUAFFFFABRRRQAUUUUAFFFFABRRRQAUUUUAFFFFAH//Z">
            <a:extLst>
              <a:ext uri="{FF2B5EF4-FFF2-40B4-BE49-F238E27FC236}">
                <a16:creationId xmlns:a16="http://schemas.microsoft.com/office/drawing/2014/main" id="{ECD129A0-7AC8-4126-B17C-E0E4C9A7C8A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A67A631-79F0-4CBC-9926-A39103A850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926" y="3864522"/>
            <a:ext cx="4572000" cy="27432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29957-8F35-46B3-BF59-62C06E9ECB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F1B289-E05A-41E1-8719-4CEA015183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57122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2C9D1AD-8D4F-40A4-AFA2-CADBD61372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040" y="6152759"/>
            <a:ext cx="1530099" cy="68580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Content Placeholder 2">
                <a:extLst>
                  <a:ext uri="{FF2B5EF4-FFF2-40B4-BE49-F238E27FC236}">
                    <a16:creationId xmlns:a16="http://schemas.microsoft.com/office/drawing/2014/main" id="{561F2311-D7C9-4104-8E8D-861457542C7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33640" y="1606160"/>
                <a:ext cx="3350494" cy="2942226"/>
              </a:xfrm>
              <a:prstGeom prst="rect">
                <a:avLst/>
              </a:prstGeom>
              <a:ln w="28575" cmpd="dbl">
                <a:noFill/>
              </a:ln>
            </p:spPr>
            <p:txBody>
              <a:bodyPr>
                <a:normAutofit/>
              </a:bodyPr>
              <a:lstStyle>
                <a:lvl1pPr marL="2286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 sz="36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4572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 sz="2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6858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9144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 sz="22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1430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 sz="22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US" sz="2353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prstClr val="black"/>
                        </a:gs>
                        <a:gs pos="10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User Inputs</a:t>
                </a:r>
              </a:p>
              <a:p>
                <a:pPr marL="228600" marR="0" lvl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/>
                </a:pPr>
                <a:r>
                  <a:rPr kumimoji="0" lang="en-US" sz="1961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prstClr val="black"/>
                        </a:gs>
                        <a:gs pos="10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# parallel jobs </a:t>
                </a:r>
                <a14:m>
                  <m:oMath xmlns:m="http://schemas.openxmlformats.org/officeDocument/2006/math">
                    <m:r>
                      <a:rPr kumimoji="0" lang="en-US" sz="1961" b="0" i="1" u="none" strike="noStrike" kern="1200" cap="none" spc="0" normalizeH="0" baseline="0" noProof="0">
                        <a:ln>
                          <a:noFill/>
                        </a:ln>
                        <a:gradFill>
                          <a:gsLst>
                            <a:gs pos="1250">
                              <a:prstClr val="black"/>
                            </a:gs>
                            <a:gs pos="100000">
                              <a:prstClr val="black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𝑝</m:t>
                    </m:r>
                  </m:oMath>
                </a14:m>
                <a:endParaRPr kumimoji="0" lang="en-US" sz="1961" b="0" i="1" u="none" strike="noStrike" kern="1200" cap="none" spc="0" normalizeH="0" baseline="0" noProof="0">
                  <a:ln>
                    <a:noFill/>
                  </a:ln>
                  <a:gradFill>
                    <a:gsLst>
                      <a:gs pos="1250">
                        <a:prstClr val="black"/>
                      </a:gs>
                      <a:gs pos="100000">
                        <a:prstClr val="black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228600" marR="0" lvl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/>
                </a:pPr>
                <a:r>
                  <a:rPr kumimoji="0" lang="en-US" sz="1961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prstClr val="black"/>
                        </a:gs>
                        <a:gs pos="10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Hyperparameter ranges, </a:t>
                </a:r>
              </a:p>
              <a:p>
                <a:pPr marL="457200" marR="0" lvl="1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/>
                </a:pPr>
                <a:r>
                  <a:rPr kumimoji="0" lang="en-US" sz="1961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prstClr val="black"/>
                        </a:gs>
                        <a:gs pos="10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0 &lt; learning rate &lt; 0.1</a:t>
                </a:r>
              </a:p>
              <a:p>
                <a:pPr marL="457200" marR="0" lvl="1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/>
                </a:pPr>
                <a:r>
                  <a:rPr kumimoji="0" lang="en-US" sz="1961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prstClr val="black"/>
                        </a:gs>
                        <a:gs pos="10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 &lt; #hidden layers &lt; 5</a:t>
                </a:r>
              </a:p>
              <a:p>
                <a:pPr marL="457200" marR="0" lvl="1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/>
                </a:pPr>
                <a:r>
                  <a:rPr kumimoji="0" lang="en-US" sz="1961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prstClr val="black"/>
                        </a:gs>
                        <a:gs pos="10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…</a:t>
                </a:r>
              </a:p>
              <a:p>
                <a:pPr marL="228600" marR="0" lvl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Char char=""/>
                  <a:tabLst/>
                  <a:defRPr/>
                </a:pPr>
                <a:r>
                  <a:rPr kumimoji="0" lang="en-US" sz="1961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prstClr val="black"/>
                        </a:gs>
                        <a:gs pos="10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Time/compute budget</a:t>
                </a:r>
              </a:p>
              <a:p>
                <a:pPr marL="0" marR="0" lvl="0" indent="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sz="1961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1250">
                        <a:prstClr val="black"/>
                      </a:gs>
                      <a:gs pos="100000">
                        <a:prstClr val="black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7" name="Content Placeholder 2">
                <a:extLst>
                  <a:ext uri="{FF2B5EF4-FFF2-40B4-BE49-F238E27FC236}">
                    <a16:creationId xmlns:a16="http://schemas.microsoft.com/office/drawing/2014/main" id="{561F2311-D7C9-4104-8E8D-861457542C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3640" y="1606160"/>
                <a:ext cx="3350494" cy="294222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28575" cmpd="dbl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 7">
            <a:extLst>
              <a:ext uri="{FF2B5EF4-FFF2-40B4-BE49-F238E27FC236}">
                <a16:creationId xmlns:a16="http://schemas.microsoft.com/office/drawing/2014/main" id="{85C854B3-747B-4C54-87A6-11F3373307AC}"/>
              </a:ext>
            </a:extLst>
          </p:cNvPr>
          <p:cNvSpPr/>
          <p:nvPr/>
        </p:nvSpPr>
        <p:spPr>
          <a:xfrm>
            <a:off x="378281" y="1534307"/>
            <a:ext cx="3262945" cy="2837153"/>
          </a:xfrm>
          <a:prstGeom prst="rect">
            <a:avLst/>
          </a:prstGeom>
          <a:noFill/>
          <a:ln w="38100" cmpd="tri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6152CA2-877D-40D0-9322-63D3C27C36DE}"/>
              </a:ext>
            </a:extLst>
          </p:cNvPr>
          <p:cNvCxnSpPr>
            <a:cxnSpLocks/>
          </p:cNvCxnSpPr>
          <p:nvPr/>
        </p:nvCxnSpPr>
        <p:spPr>
          <a:xfrm>
            <a:off x="6531951" y="4795877"/>
            <a:ext cx="3778450" cy="28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B173C5F-C125-4B65-A84F-70E50137422B}"/>
              </a:ext>
            </a:extLst>
          </p:cNvPr>
          <p:cNvSpPr txBox="1"/>
          <p:nvPr/>
        </p:nvSpPr>
        <p:spPr>
          <a:xfrm>
            <a:off x="5529115" y="3104500"/>
            <a:ext cx="437940" cy="394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234CF8-F975-4144-8B6E-E3E0E03C30D8}"/>
              </a:ext>
            </a:extLst>
          </p:cNvPr>
          <p:cNvSpPr txBox="1"/>
          <p:nvPr/>
        </p:nvSpPr>
        <p:spPr>
          <a:xfrm>
            <a:off x="5510257" y="3559484"/>
            <a:ext cx="437940" cy="394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91E0C18-62F0-432F-8CC0-A84390FB3CC3}"/>
                  </a:ext>
                </a:extLst>
              </p:cNvPr>
              <p:cNvSpPr txBox="1"/>
              <p:nvPr/>
            </p:nvSpPr>
            <p:spPr>
              <a:xfrm>
                <a:off x="5508735" y="4316346"/>
                <a:ext cx="508344" cy="39408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6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#</a:t>
                </a:r>
                <a14:m>
                  <m:oMath xmlns:m="http://schemas.openxmlformats.org/officeDocument/2006/math">
                    <m:r>
                      <a:rPr kumimoji="0" lang="en-US" sz="1961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𝑝</m:t>
                    </m:r>
                  </m:oMath>
                </a14:m>
                <a:r>
                  <a:rPr kumimoji="0" lang="en-US" sz="196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91E0C18-62F0-432F-8CC0-A84390FB3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8735" y="4316346"/>
                <a:ext cx="508344" cy="394082"/>
              </a:xfrm>
              <a:prstGeom prst="rect">
                <a:avLst/>
              </a:prstGeom>
              <a:blipFill>
                <a:blip r:embed="rId6"/>
                <a:stretch>
                  <a:fillRect l="-12048" t="-7692" b="-261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91004A4-2956-420C-8E04-7F64BE1593DF}"/>
                  </a:ext>
                </a:extLst>
              </p:cNvPr>
              <p:cNvSpPr txBox="1"/>
              <p:nvPr/>
            </p:nvSpPr>
            <p:spPr>
              <a:xfrm>
                <a:off x="6549271" y="3104499"/>
                <a:ext cx="1280607" cy="392245"/>
              </a:xfrm>
              <a:prstGeom prst="rect">
                <a:avLst/>
              </a:prstGeom>
              <a:solidFill>
                <a:srgbClr val="BAD908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/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961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961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𝑗𝑜𝑏</m:t>
                          </m:r>
                        </m:e>
                        <m:sub>
                          <m:r>
                            <a:rPr kumimoji="0" lang="en-US" sz="1961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1961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91004A4-2956-420C-8E04-7F64BE1593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49271" y="3104499"/>
                <a:ext cx="1280607" cy="392245"/>
              </a:xfrm>
              <a:prstGeom prst="rect">
                <a:avLst/>
              </a:prstGeom>
              <a:blipFill>
                <a:blip r:embed="rId7"/>
                <a:stretch>
                  <a:fillRect b="-121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14ABA92C-B66A-4A9E-9381-A28AD8482034}"/>
                  </a:ext>
                </a:extLst>
              </p:cNvPr>
              <p:cNvSpPr txBox="1"/>
              <p:nvPr/>
            </p:nvSpPr>
            <p:spPr>
              <a:xfrm>
                <a:off x="6549270" y="3559484"/>
                <a:ext cx="1099189" cy="392245"/>
              </a:xfrm>
              <a:prstGeom prst="rect">
                <a:avLst/>
              </a:prstGeom>
              <a:solidFill>
                <a:srgbClr val="BAD908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/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961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961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𝑗𝑜𝑏</m:t>
                          </m:r>
                        </m:e>
                        <m:sub>
                          <m:r>
                            <a:rPr kumimoji="0" lang="en-US" sz="1961" b="0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1961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14ABA92C-B66A-4A9E-9381-A28AD84820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49270" y="3559484"/>
                <a:ext cx="1099189" cy="392245"/>
              </a:xfrm>
              <a:prstGeom prst="rect">
                <a:avLst/>
              </a:prstGeom>
              <a:blipFill>
                <a:blip r:embed="rId8"/>
                <a:stretch>
                  <a:fillRect b="-1384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3F2C38F-0ABF-48EA-BB6E-A84B2733CED2}"/>
                  </a:ext>
                </a:extLst>
              </p:cNvPr>
              <p:cNvSpPr txBox="1"/>
              <p:nvPr/>
            </p:nvSpPr>
            <p:spPr>
              <a:xfrm>
                <a:off x="6531950" y="4345192"/>
                <a:ext cx="1744829" cy="417294"/>
              </a:xfrm>
              <a:prstGeom prst="rect">
                <a:avLst/>
              </a:prstGeom>
              <a:solidFill>
                <a:srgbClr val="BAD908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961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961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𝑗𝑜𝑏</m:t>
                          </m:r>
                        </m:e>
                        <m:sub>
                          <m:r>
                            <a:rPr kumimoji="0" lang="en-US" sz="1961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𝑝</m:t>
                          </m:r>
                        </m:sub>
                      </m:sSub>
                    </m:oMath>
                  </m:oMathPara>
                </a14:m>
                <a:endParaRPr kumimoji="0" lang="en-US" sz="1961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3F2C38F-0ABF-48EA-BB6E-A84B2733CE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1950" y="4345192"/>
                <a:ext cx="1744829" cy="417294"/>
              </a:xfrm>
              <a:prstGeom prst="rect">
                <a:avLst/>
              </a:prstGeom>
              <a:blipFill>
                <a:blip r:embed="rId9"/>
                <a:stretch>
                  <a:fillRect b="-869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D9EF915-33CF-46C1-A930-83BD1FD90E1F}"/>
                  </a:ext>
                </a:extLst>
              </p:cNvPr>
              <p:cNvSpPr txBox="1"/>
              <p:nvPr/>
            </p:nvSpPr>
            <p:spPr>
              <a:xfrm>
                <a:off x="7851223" y="3104499"/>
                <a:ext cx="987135" cy="392245"/>
              </a:xfrm>
              <a:prstGeom prst="rect">
                <a:avLst/>
              </a:prstGeom>
              <a:solidFill>
                <a:srgbClr val="BAD908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/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961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961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𝑗𝑜𝑏</m:t>
                          </m:r>
                        </m:e>
                        <m:sub>
                          <m:r>
                            <a:rPr kumimoji="0" lang="en-US" sz="1961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kumimoji="0" lang="en-US" sz="1961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D9EF915-33CF-46C1-A930-83BD1FD90E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51223" y="3104499"/>
                <a:ext cx="987135" cy="392245"/>
              </a:xfrm>
              <a:prstGeom prst="rect">
                <a:avLst/>
              </a:prstGeom>
              <a:blipFill>
                <a:blip r:embed="rId10"/>
                <a:stretch>
                  <a:fillRect b="-121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A80EF86-E306-4C87-BB82-93D76F460A67}"/>
                  </a:ext>
                </a:extLst>
              </p:cNvPr>
              <p:cNvSpPr txBox="1"/>
              <p:nvPr/>
            </p:nvSpPr>
            <p:spPr>
              <a:xfrm>
                <a:off x="7675139" y="3558394"/>
                <a:ext cx="1616765" cy="418191"/>
              </a:xfrm>
              <a:prstGeom prst="rect">
                <a:avLst/>
              </a:prstGeom>
              <a:solidFill>
                <a:srgbClr val="BAD908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/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961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961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𝑗𝑜𝑏</m:t>
                          </m:r>
                        </m:e>
                        <m:sub>
                          <m:r>
                            <a:rPr kumimoji="0" lang="en-US" sz="1961" b="0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kumimoji="0" lang="en-US" sz="1961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A80EF86-E306-4C87-BB82-93D76F460A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139" y="3558394"/>
                <a:ext cx="1616765" cy="418191"/>
              </a:xfrm>
              <a:prstGeom prst="rect">
                <a:avLst/>
              </a:prstGeom>
              <a:blipFill>
                <a:blip r:embed="rId11"/>
                <a:stretch>
                  <a:fillRect b="-869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63512E8-C9AB-4B5E-B3AE-6CB3503504CE}"/>
                  </a:ext>
                </a:extLst>
              </p:cNvPr>
              <p:cNvSpPr txBox="1"/>
              <p:nvPr/>
            </p:nvSpPr>
            <p:spPr>
              <a:xfrm>
                <a:off x="8294081" y="4346283"/>
                <a:ext cx="1179227" cy="392245"/>
              </a:xfrm>
              <a:prstGeom prst="rect">
                <a:avLst/>
              </a:prstGeom>
              <a:solidFill>
                <a:srgbClr val="BAD908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/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1961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sz="1961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𝑗𝑜𝑏</m:t>
                          </m:r>
                        </m:e>
                        <m:sub>
                          <m:r>
                            <a:rPr kumimoji="0" lang="en-US" sz="1961" b="0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𝑘</m:t>
                          </m:r>
                        </m:sub>
                      </m:sSub>
                    </m:oMath>
                  </m:oMathPara>
                </a14:m>
                <a:endParaRPr kumimoji="0" lang="en-US" sz="1961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63512E8-C9AB-4B5E-B3AE-6CB3503504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94081" y="4346283"/>
                <a:ext cx="1179227" cy="392245"/>
              </a:xfrm>
              <a:prstGeom prst="rect">
                <a:avLst/>
              </a:prstGeom>
              <a:blipFill>
                <a:blip r:embed="rId12"/>
                <a:stretch>
                  <a:fillRect b="-1384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allout: Line with No Border 21">
                <a:extLst>
                  <a:ext uri="{FF2B5EF4-FFF2-40B4-BE49-F238E27FC236}">
                    <a16:creationId xmlns:a16="http://schemas.microsoft.com/office/drawing/2014/main" id="{171EF179-4925-4F9D-8801-333807C90D4A}"/>
                  </a:ext>
                </a:extLst>
              </p:cNvPr>
              <p:cNvSpPr/>
              <p:nvPr/>
            </p:nvSpPr>
            <p:spPr>
              <a:xfrm>
                <a:off x="5081908" y="1990860"/>
                <a:ext cx="3194871" cy="523350"/>
              </a:xfrm>
              <a:prstGeom prst="callout1">
                <a:avLst>
                  <a:gd name="adj1" fmla="val 119755"/>
                  <a:gd name="adj2" fmla="val 50202"/>
                  <a:gd name="adj3" fmla="val 211415"/>
                  <a:gd name="adj4" fmla="val 61394"/>
                </a:avLst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961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2D78D8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1961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2D78D8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𝒋𝒐𝒃</m:t>
                        </m:r>
                      </m:e>
                      <m:sub>
                        <m:r>
                          <a:rPr kumimoji="0" lang="en-US" sz="1961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2D78D8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𝟏</m:t>
                        </m:r>
                      </m:sub>
                    </m:sSub>
                  </m:oMath>
                </a14:m>
                <a:r>
                  <a:rPr kumimoji="0" lang="en-US" sz="1961" b="1" i="0" u="none" strike="noStrike" kern="1200" cap="none" spc="0" normalizeH="0" baseline="0" noProof="0">
                    <a:ln>
                      <a:noFill/>
                    </a:ln>
                    <a:solidFill>
                      <a:srgbClr val="2D78D8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= {learning rate=0.02,  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61" b="1" i="0" u="none" strike="noStrike" kern="1200" cap="none" spc="0" normalizeH="0" baseline="0" noProof="0">
                    <a:ln>
                      <a:noFill/>
                    </a:ln>
                    <a:solidFill>
                      <a:srgbClr val="2D78D8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             #layers=3, …}</a:t>
                </a:r>
              </a:p>
            </p:txBody>
          </p:sp>
        </mc:Choice>
        <mc:Fallback xmlns="">
          <p:sp>
            <p:nvSpPr>
              <p:cNvPr id="19" name="Callout: Line with No Border 21">
                <a:extLst>
                  <a:ext uri="{FF2B5EF4-FFF2-40B4-BE49-F238E27FC236}">
                    <a16:creationId xmlns:a16="http://schemas.microsoft.com/office/drawing/2014/main" id="{171EF179-4925-4F9D-8801-333807C90D4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1908" y="1990860"/>
                <a:ext cx="3194871" cy="523350"/>
              </a:xfrm>
              <a:prstGeom prst="callout1">
                <a:avLst>
                  <a:gd name="adj1" fmla="val 119755"/>
                  <a:gd name="adj2" fmla="val 50202"/>
                  <a:gd name="adj3" fmla="val 211415"/>
                  <a:gd name="adj4" fmla="val 61394"/>
                </a:avLst>
              </a:prstGeom>
              <a:blipFill>
                <a:blip r:embed="rId13"/>
                <a:stretch>
                  <a:fillRect l="-437705" t="-150000" r="-311475"/>
                </a:stretch>
              </a:blipFill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0" name="Group 19">
            <a:extLst>
              <a:ext uri="{FF2B5EF4-FFF2-40B4-BE49-F238E27FC236}">
                <a16:creationId xmlns:a16="http://schemas.microsoft.com/office/drawing/2014/main" id="{320E39AD-37B9-4FF9-91CB-7E8ABC2C37E9}"/>
              </a:ext>
            </a:extLst>
          </p:cNvPr>
          <p:cNvGrpSpPr/>
          <p:nvPr/>
        </p:nvGrpSpPr>
        <p:grpSpPr>
          <a:xfrm>
            <a:off x="6271154" y="2928612"/>
            <a:ext cx="4039247" cy="3510997"/>
            <a:chOff x="6540394" y="2539794"/>
            <a:chExt cx="4120242" cy="3581400"/>
          </a:xfrm>
        </p:grpSpPr>
        <p:sp>
          <p:nvSpPr>
            <p:cNvPr id="21" name="Rectangle: Rounded Corners 22">
              <a:extLst>
                <a:ext uri="{FF2B5EF4-FFF2-40B4-BE49-F238E27FC236}">
                  <a16:creationId xmlns:a16="http://schemas.microsoft.com/office/drawing/2014/main" id="{02F2D935-B8C1-413A-831E-8D6BE8C39F9C}"/>
                </a:ext>
              </a:extLst>
            </p:cNvPr>
            <p:cNvSpPr/>
            <p:nvPr/>
          </p:nvSpPr>
          <p:spPr>
            <a:xfrm>
              <a:off x="6540394" y="4992301"/>
              <a:ext cx="4120242" cy="1128893"/>
            </a:xfrm>
            <a:prstGeom prst="roundRect">
              <a:avLst/>
            </a:prstGeom>
            <a:solidFill>
              <a:srgbClr val="107C0F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B) Manage active jobs</a:t>
              </a:r>
            </a:p>
            <a:p>
              <a:pPr marL="571136" marR="0" lvl="1" indent="-228766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961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ow long to run a job?</a:t>
              </a:r>
            </a:p>
            <a:p>
              <a:pPr marL="571136" marR="0" lvl="1" indent="-228766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961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ow much resource usage?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96C3171-05DE-4387-AC7C-B6385C4A572D}"/>
                </a:ext>
              </a:extLst>
            </p:cNvPr>
            <p:cNvSpPr/>
            <p:nvPr/>
          </p:nvSpPr>
          <p:spPr>
            <a:xfrm>
              <a:off x="7009532" y="2539794"/>
              <a:ext cx="1116214" cy="2068916"/>
            </a:xfrm>
            <a:prstGeom prst="ellipse">
              <a:avLst/>
            </a:prstGeom>
            <a:noFill/>
            <a:ln w="38100">
              <a:solidFill>
                <a:schemeClr val="accent6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7E4AA24-668B-4E60-9128-AA4DE7D51701}"/>
              </a:ext>
            </a:extLst>
          </p:cNvPr>
          <p:cNvGrpSpPr/>
          <p:nvPr/>
        </p:nvGrpSpPr>
        <p:grpSpPr>
          <a:xfrm>
            <a:off x="8178783" y="1665459"/>
            <a:ext cx="3507065" cy="1829244"/>
            <a:chOff x="8486274" y="1522980"/>
            <a:chExt cx="3577389" cy="1865924"/>
          </a:xfrm>
          <a:solidFill>
            <a:srgbClr val="D83A00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3934339-D1CB-40B7-949E-58CC47F6A49D}"/>
                </a:ext>
              </a:extLst>
            </p:cNvPr>
            <p:cNvSpPr txBox="1"/>
            <p:nvPr/>
          </p:nvSpPr>
          <p:spPr>
            <a:xfrm>
              <a:off x="9180847" y="2988794"/>
              <a:ext cx="1006929" cy="400110"/>
            </a:xfrm>
            <a:prstGeom prst="rect">
              <a:avLst/>
            </a:prstGeom>
            <a:solidFill>
              <a:srgbClr val="FA8C01"/>
            </a:solidFill>
            <a:ln>
              <a:solidFill>
                <a:srgbClr val="BF6901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61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???</a:t>
              </a:r>
            </a:p>
          </p:txBody>
        </p:sp>
        <p:sp>
          <p:nvSpPr>
            <p:cNvPr id="25" name="Rectangle: Rounded Corners 26">
              <a:extLst>
                <a:ext uri="{FF2B5EF4-FFF2-40B4-BE49-F238E27FC236}">
                  <a16:creationId xmlns:a16="http://schemas.microsoft.com/office/drawing/2014/main" id="{D922632F-18AE-40F1-B9CA-71C36D6DE04F}"/>
                </a:ext>
              </a:extLst>
            </p:cNvPr>
            <p:cNvSpPr/>
            <p:nvPr/>
          </p:nvSpPr>
          <p:spPr>
            <a:xfrm>
              <a:off x="8486274" y="1522980"/>
              <a:ext cx="3577389" cy="1128893"/>
            </a:xfrm>
            <a:prstGeom prst="roundRect">
              <a:avLst/>
            </a:prstGeom>
            <a:grpFill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53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A) Generate new jobs</a:t>
              </a:r>
            </a:p>
            <a:p>
              <a:pPr marL="571136" marR="0" lvl="1" indent="-228766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961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figuration choice?</a:t>
              </a: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F1271250-A86E-4C1C-AD2B-C85F72AAA3C2}"/>
              </a:ext>
            </a:extLst>
          </p:cNvPr>
          <p:cNvSpPr/>
          <p:nvPr/>
        </p:nvSpPr>
        <p:spPr>
          <a:xfrm>
            <a:off x="5001220" y="1497492"/>
            <a:ext cx="6706169" cy="5075713"/>
          </a:xfrm>
          <a:prstGeom prst="rect">
            <a:avLst/>
          </a:prstGeom>
          <a:noFill/>
          <a:ln w="38100" cmpd="tri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1E3410C-16DB-424C-99C0-E0A3E609845B}"/>
              </a:ext>
            </a:extLst>
          </p:cNvPr>
          <p:cNvSpPr txBox="1"/>
          <p:nvPr/>
        </p:nvSpPr>
        <p:spPr>
          <a:xfrm>
            <a:off x="5024853" y="1457446"/>
            <a:ext cx="1835691" cy="512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perDriv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D2043AB-8BF9-4544-9A54-1BCCDDEF8DFD}"/>
              </a:ext>
            </a:extLst>
          </p:cNvPr>
          <p:cNvSpPr txBox="1"/>
          <p:nvPr/>
        </p:nvSpPr>
        <p:spPr>
          <a:xfrm>
            <a:off x="5789982" y="3922532"/>
            <a:ext cx="340158" cy="3639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</a:p>
        </p:txBody>
      </p:sp>
      <p:sp>
        <p:nvSpPr>
          <p:cNvPr id="29" name="Arrow: Right 20">
            <a:extLst>
              <a:ext uri="{FF2B5EF4-FFF2-40B4-BE49-F238E27FC236}">
                <a16:creationId xmlns:a16="http://schemas.microsoft.com/office/drawing/2014/main" id="{CB3D2DEB-C0EC-49D6-853E-D63F1B39C279}"/>
              </a:ext>
            </a:extLst>
          </p:cNvPr>
          <p:cNvSpPr/>
          <p:nvPr/>
        </p:nvSpPr>
        <p:spPr>
          <a:xfrm>
            <a:off x="3920551" y="2630616"/>
            <a:ext cx="936601" cy="439161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AE99107B-1BB7-40CC-8D75-C397198E518D}"/>
              </a:ext>
            </a:extLst>
          </p:cNvPr>
          <p:cNvSpPr/>
          <p:nvPr/>
        </p:nvSpPr>
        <p:spPr>
          <a:xfrm rot="10800000">
            <a:off x="3869117" y="5734122"/>
            <a:ext cx="936601" cy="439161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1A4C75F-3363-41AE-B2C7-B0739659DC85}"/>
              </a:ext>
            </a:extLst>
          </p:cNvPr>
          <p:cNvSpPr/>
          <p:nvPr/>
        </p:nvSpPr>
        <p:spPr>
          <a:xfrm>
            <a:off x="323120" y="5543356"/>
            <a:ext cx="3350495" cy="783548"/>
          </a:xfrm>
          <a:prstGeom prst="rect">
            <a:avLst/>
          </a:prstGeom>
          <a:noFill/>
          <a:ln w="38100" cmpd="tri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mmended configurations, metrics &amp; job output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0292022-ABF7-4862-B3B6-391E11DD2741}"/>
              </a:ext>
            </a:extLst>
          </p:cNvPr>
          <p:cNvSpPr txBox="1"/>
          <p:nvPr/>
        </p:nvSpPr>
        <p:spPr>
          <a:xfrm>
            <a:off x="7997345" y="4757868"/>
            <a:ext cx="817324" cy="534083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</a:t>
            </a:r>
          </a:p>
        </p:txBody>
      </p:sp>
      <p:pic>
        <p:nvPicPr>
          <p:cNvPr id="33" name="Content Placeholder 3">
            <a:extLst>
              <a:ext uri="{FF2B5EF4-FFF2-40B4-BE49-F238E27FC236}">
                <a16:creationId xmlns:a16="http://schemas.microsoft.com/office/drawing/2014/main" id="{FDFA1729-7FBB-4108-AF48-D58AFBD06DBE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2" t="19206" r="83904" b="59523"/>
          <a:stretch/>
        </p:blipFill>
        <p:spPr>
          <a:xfrm>
            <a:off x="1665674" y="4515839"/>
            <a:ext cx="665387" cy="877941"/>
          </a:xfrm>
          <a:prstGeom prst="rect">
            <a:avLst/>
          </a:prstGeom>
        </p:spPr>
      </p:pic>
      <p:sp>
        <p:nvSpPr>
          <p:cNvPr id="38" name="Title 1">
            <a:extLst>
              <a:ext uri="{FF2B5EF4-FFF2-40B4-BE49-F238E27FC236}">
                <a16:creationId xmlns:a16="http://schemas.microsoft.com/office/drawing/2014/main" id="{C7DF302C-53C4-4D45-B28F-91E6456A06E3}"/>
              </a:ext>
            </a:extLst>
          </p:cNvPr>
          <p:cNvSpPr txBox="1">
            <a:spLocks/>
          </p:cNvSpPr>
          <p:nvPr/>
        </p:nvSpPr>
        <p:spPr>
          <a:xfrm>
            <a:off x="838200" y="536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HyperDrive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Overvie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58BE27-1380-4CC0-B1A6-C9F9B8D4C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F1B289-E05A-41E1-8719-4CEA015183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73753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s://docs.microsoft.com/en-us/azure/machine-learning/service/media/concept-ml-pipelines/machine-learning-pipelines-big.png#lightbox">
            <a:extLst>
              <a:ext uri="{FF2B5EF4-FFF2-40B4-BE49-F238E27FC236}">
                <a16:creationId xmlns:a16="http://schemas.microsoft.com/office/drawing/2014/main" id="{252FFD3B-6916-4291-AE20-ACD629A1B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" y="1996165"/>
            <a:ext cx="11018519" cy="4159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D54A8B1A-9282-42B7-982E-9C4B08EF4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altLang="zh-CN" dirty="0"/>
              <a:t>ML Pipelines and Azure Machine Lear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24842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2">
            <a:extLst>
              <a:ext uri="{FF2B5EF4-FFF2-40B4-BE49-F238E27FC236}">
                <a16:creationId xmlns:a16="http://schemas.microsoft.com/office/drawing/2014/main" id="{5ADCCFB1-1752-6744-BCC6-05E95DE98157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819294" y="1396313"/>
          <a:ext cx="10116436" cy="50395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CD47A0C5-EC46-4437-94A6-26AC80A79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/>
              <a:t>Azure Machine Learning Operationalization</a:t>
            </a:r>
          </a:p>
        </p:txBody>
      </p:sp>
    </p:spTree>
    <p:extLst>
      <p:ext uri="{BB962C8B-B14F-4D97-AF65-F5344CB8AC3E}">
        <p14:creationId xmlns:p14="http://schemas.microsoft.com/office/powerpoint/2010/main" val="4051918340"/>
      </p:ext>
    </p:extLst>
  </p:cSld>
  <p:clrMapOvr>
    <a:masterClrMapping/>
  </p:clrMapOvr>
  <p:transition advTm="5000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FFB000-E4E2-46AB-BEA4-C9C41CA32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ML operationalization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0A14E8A2-C1D5-4D50-9A9A-046C6EC3C11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543" y="1690688"/>
            <a:ext cx="10515600" cy="4331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E617908-7BE6-4A08-88EE-35946E81164C}"/>
              </a:ext>
            </a:extLst>
          </p:cNvPr>
          <p:cNvSpPr txBox="1"/>
          <p:nvPr/>
        </p:nvSpPr>
        <p:spPr>
          <a:xfrm>
            <a:off x="255614" y="5843223"/>
            <a:ext cx="29245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del can come from anywhere (</a:t>
            </a:r>
            <a:r>
              <a:rPr lang="en-US" dirty="0" err="1"/>
              <a:t>Aether</a:t>
            </a:r>
            <a:r>
              <a:rPr lang="en-US" dirty="0"/>
              <a:t>, research paper, local training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485A170-7C2F-43CE-98DA-8634CC023AE7}"/>
              </a:ext>
            </a:extLst>
          </p:cNvPr>
          <p:cNvSpPr txBox="1"/>
          <p:nvPr/>
        </p:nvSpPr>
        <p:spPr>
          <a:xfrm>
            <a:off x="3123524" y="4865932"/>
            <a:ext cx="11895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ersioned</a:t>
            </a:r>
          </a:p>
          <a:p>
            <a:r>
              <a:rPr lang="en-US" dirty="0"/>
              <a:t>model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EA2094-D7E6-40EF-944C-02FD4A1AB54A}"/>
              </a:ext>
            </a:extLst>
          </p:cNvPr>
          <p:cNvSpPr txBox="1"/>
          <p:nvPr/>
        </p:nvSpPr>
        <p:spPr>
          <a:xfrm>
            <a:off x="4418251" y="4863880"/>
            <a:ext cx="784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init</a:t>
            </a:r>
            <a:r>
              <a:rPr lang="en-US" dirty="0"/>
              <a:t>()</a:t>
            </a:r>
          </a:p>
          <a:p>
            <a:r>
              <a:rPr lang="en-US" dirty="0"/>
              <a:t>run(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B5FCE66-211B-41F7-80FC-BDA32D600F05}"/>
              </a:ext>
            </a:extLst>
          </p:cNvPr>
          <p:cNvSpPr txBox="1"/>
          <p:nvPr/>
        </p:nvSpPr>
        <p:spPr>
          <a:xfrm>
            <a:off x="4048714" y="3176842"/>
            <a:ext cx="1901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+ dependenc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4F5D45-EDFB-4E2D-99AE-8369FCAED1BC}"/>
              </a:ext>
            </a:extLst>
          </p:cNvPr>
          <p:cNvSpPr txBox="1"/>
          <p:nvPr/>
        </p:nvSpPr>
        <p:spPr>
          <a:xfrm>
            <a:off x="5712977" y="4870071"/>
            <a:ext cx="14808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ustomizable imag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6C42D2-C513-4CA4-B69D-85BC54211E54}"/>
              </a:ext>
            </a:extLst>
          </p:cNvPr>
          <p:cNvSpPr txBox="1"/>
          <p:nvPr/>
        </p:nvSpPr>
        <p:spPr>
          <a:xfrm>
            <a:off x="9929601" y="4863880"/>
            <a:ext cx="209583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pp insights –</a:t>
            </a:r>
          </a:p>
          <a:p>
            <a:r>
              <a:rPr lang="en-US" dirty="0"/>
              <a:t>Monitoring: failures, performance </a:t>
            </a:r>
            <a:r>
              <a:rPr lang="en-US" dirty="0" err="1"/>
              <a:t>etc</a:t>
            </a:r>
            <a:endParaRPr lang="en-US" dirty="0"/>
          </a:p>
          <a:p>
            <a:r>
              <a:rPr lang="en-US" dirty="0"/>
              <a:t>Logging: Model inputs, predictions, custom logg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D30EB3-7A18-47F8-8185-6B336E296989}"/>
              </a:ext>
            </a:extLst>
          </p:cNvPr>
          <p:cNvSpPr txBox="1"/>
          <p:nvPr/>
        </p:nvSpPr>
        <p:spPr>
          <a:xfrm>
            <a:off x="7606513" y="5430322"/>
            <a:ext cx="20715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utomatic scaling </a:t>
            </a:r>
            <a:r>
              <a:rPr lang="en-US"/>
              <a:t>of service based </a:t>
            </a:r>
            <a:r>
              <a:rPr lang="en-US" dirty="0"/>
              <a:t>on loa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55914E-EFC8-46BE-9AC0-EFB61DF17321}"/>
              </a:ext>
            </a:extLst>
          </p:cNvPr>
          <p:cNvSpPr txBox="1"/>
          <p:nvPr/>
        </p:nvSpPr>
        <p:spPr>
          <a:xfrm>
            <a:off x="7687434" y="1440792"/>
            <a:ext cx="1990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I, AKS – can reuse image, add htt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9885E8-EA54-4CE2-B9AF-547CC79B31B8}"/>
              </a:ext>
            </a:extLst>
          </p:cNvPr>
          <p:cNvSpPr txBox="1"/>
          <p:nvPr/>
        </p:nvSpPr>
        <p:spPr>
          <a:xfrm>
            <a:off x="-2698" y="3688289"/>
            <a:ext cx="19016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AutoML</a:t>
            </a:r>
            <a:endParaRPr lang="en-US" dirty="0"/>
          </a:p>
          <a:p>
            <a:r>
              <a:rPr lang="en-US" dirty="0"/>
              <a:t>Hyperdr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416089-2486-4A80-A8D8-B16A12AEFF26}"/>
              </a:ext>
            </a:extLst>
          </p:cNvPr>
          <p:cNvSpPr txBox="1"/>
          <p:nvPr/>
        </p:nvSpPr>
        <p:spPr>
          <a:xfrm>
            <a:off x="1610653" y="3361508"/>
            <a:ext cx="9467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cal</a:t>
            </a:r>
          </a:p>
          <a:p>
            <a:r>
              <a:rPr lang="en-US" dirty="0"/>
              <a:t>GPU</a:t>
            </a:r>
          </a:p>
          <a:p>
            <a:r>
              <a:rPr lang="en-US" dirty="0"/>
              <a:t>Batch AI</a:t>
            </a:r>
          </a:p>
        </p:txBody>
      </p:sp>
    </p:spTree>
    <p:extLst>
      <p:ext uri="{BB962C8B-B14F-4D97-AF65-F5344CB8AC3E}">
        <p14:creationId xmlns:p14="http://schemas.microsoft.com/office/powerpoint/2010/main" val="4215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10.xml><?xml version="1.0" encoding="utf-8"?>
<a:theme xmlns:a="http://schemas.openxmlformats.org/drawingml/2006/main" name="3_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0518_Baseline File [square photo].potx" id="{C5D1F236-4B1B-4E57-A29C-AD92A4683BEF}" vid="{04698D39-7FD2-42AF-81C6-B18BB52E45EF}"/>
    </a:ext>
  </a:extLst>
</a:theme>
</file>

<file path=ppt/theme/theme11.xml><?xml version="1.0" encoding="utf-8"?>
<a:theme xmlns:a="http://schemas.openxmlformats.org/drawingml/2006/main" name="1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12.xml><?xml version="1.0" encoding="utf-8"?>
<a:theme xmlns:a="http://schemas.openxmlformats.org/drawingml/2006/main" name="2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_v03" id="{F4E7AC97-C3BC-4DAC-B23A-C0D4DABB7CB5}" vid="{F1FB81AB-2433-4475-9273-C3E09225E34D}"/>
    </a:ext>
  </a:extLst>
</a:theme>
</file>

<file path=ppt/theme/theme13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14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0518_Baseline File [square photo].potx" id="{C5D1F236-4B1B-4E57-A29C-AD92A4683BEF}" vid="{04698D39-7FD2-42AF-81C6-B18BB52E45EF}"/>
    </a:ext>
  </a:extLst>
</a:theme>
</file>

<file path=ppt/theme/theme3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4.xml><?xml version="1.0" encoding="utf-8"?>
<a:theme xmlns:a="http://schemas.openxmlformats.org/drawingml/2006/main" name="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Template.potx" id="{C012A628-78A1-424B-BCF4-D82F84699F88}" vid="{53E980D8-12F7-4E31-B54D-E701BC9269F1}"/>
    </a:ext>
  </a:extLst>
</a:theme>
</file>

<file path=ppt/theme/theme5.xml><?xml version="1.0" encoding="utf-8"?>
<a:theme xmlns:a="http://schemas.openxmlformats.org/drawingml/2006/main" name="2_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Vision_Talk.potx" id="{32F6F704-0CE4-4D14-B30A-DB21A1F4DDB2}" vid="{5BA6DD22-E130-4911-826A-CFE021704C98}"/>
    </a:ext>
  </a:extLst>
</a:theme>
</file>

<file path=ppt/theme/theme6.xml><?xml version="1.0" encoding="utf-8"?>
<a:theme xmlns:a="http://schemas.openxmlformats.org/drawingml/2006/main" name="4_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Template  -  Read-Only" id="{526A86A8-474F-4066-ADBA-B1557018539C}" vid="{523C57D6-B72E-43BA-91D8-34B85BB8608A}"/>
    </a:ext>
  </a:extLst>
</a:theme>
</file>

<file path=ppt/theme/theme7.xml><?xml version="1.0" encoding="utf-8"?>
<a:theme xmlns:a="http://schemas.openxmlformats.org/drawingml/2006/main" name="1_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Template.potx" id="{C012A628-78A1-424B-BCF4-D82F84699F88}" vid="{53E980D8-12F7-4E31-B54D-E701BC9269F1}"/>
    </a:ext>
  </a:extLst>
</a:theme>
</file>

<file path=ppt/theme/theme8.xml><?xml version="1.0" encoding="utf-8"?>
<a:theme xmlns:a="http://schemas.openxmlformats.org/drawingml/2006/main" name="2_5-50111_Build 2017_LIGHT GRAY TEMPLATE">
  <a:themeElements>
    <a:clrScheme name="Build 2017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BCF2"/>
      </a:accent2>
      <a:accent3>
        <a:srgbClr val="505050"/>
      </a:accent3>
      <a:accent4>
        <a:srgbClr val="002050"/>
      </a:accent4>
      <a:accent5>
        <a:srgbClr val="FFB900"/>
      </a:accent5>
      <a:accent6>
        <a:srgbClr val="D2D2D2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2017_Template.potx" id="{5417D3E2-C3A5-48BF-8802-FB8B38AE9E9C}" vid="{3B9D3600-BA2F-499E-9B74-B0493B08579C}"/>
    </a:ext>
  </a:extLst>
</a:theme>
</file>

<file path=ppt/theme/theme9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73</TotalTime>
  <Words>834</Words>
  <Application>Microsoft Office PowerPoint</Application>
  <PresentationFormat>Widescreen</PresentationFormat>
  <Paragraphs>144</Paragraphs>
  <Slides>1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48" baseType="lpstr">
      <vt:lpstr>Arial</vt:lpstr>
      <vt:lpstr>Calibri</vt:lpstr>
      <vt:lpstr>Calibri Light</vt:lpstr>
      <vt:lpstr>Cambria Math</vt:lpstr>
      <vt:lpstr>Consolas</vt:lpstr>
      <vt:lpstr>Helvetica</vt:lpstr>
      <vt:lpstr>Myriad Pro</vt:lpstr>
      <vt:lpstr>Segoe UI</vt:lpstr>
      <vt:lpstr>Segoe UI Light</vt:lpstr>
      <vt:lpstr>Segoe UI Semibold</vt:lpstr>
      <vt:lpstr>Segoe UI Semilight</vt:lpstr>
      <vt:lpstr>Source Sans Pro</vt:lpstr>
      <vt:lpstr>Source Sans Pro Light</vt:lpstr>
      <vt:lpstr>Source Sans Pro SemiBold</vt:lpstr>
      <vt:lpstr>Wingdings</vt:lpstr>
      <vt:lpstr>4_5-50109_Microsoft_Light_Template</vt:lpstr>
      <vt:lpstr>1_WHITE TEMPLATE</vt:lpstr>
      <vt:lpstr>5-50203_Microsoft_Ignite_Template</vt:lpstr>
      <vt:lpstr>5-50195_Microsoft_Build_Template</vt:lpstr>
      <vt:lpstr>2_5-50195_Microsoft_Build_Template</vt:lpstr>
      <vt:lpstr>4_5-50195_Microsoft_Build_Template</vt:lpstr>
      <vt:lpstr>1_5-50195_Microsoft_Build_Template</vt:lpstr>
      <vt:lpstr>2_5-50111_Build 2017_LIGHT GRAY TEMPLATE</vt:lpstr>
      <vt:lpstr>1_Office Theme</vt:lpstr>
      <vt:lpstr>3_WHITE TEMPLATE</vt:lpstr>
      <vt:lpstr>1_5-50203_Microsoft_Ignite_Template</vt:lpstr>
      <vt:lpstr>2_5-50203_Microsoft_Ignite_Template</vt:lpstr>
      <vt:lpstr>EBC_2017</vt:lpstr>
      <vt:lpstr>MGXFY15</vt:lpstr>
      <vt:lpstr>Office Theme</vt:lpstr>
      <vt:lpstr>2_Office Theme</vt:lpstr>
      <vt:lpstr>think-cell Slide</vt:lpstr>
      <vt:lpstr>PowerPoint Presentation</vt:lpstr>
      <vt:lpstr>Azure ML SDK</vt:lpstr>
      <vt:lpstr>Core concept: Workspace</vt:lpstr>
      <vt:lpstr>Azure ML Features</vt:lpstr>
      <vt:lpstr>Hyperparameters</vt:lpstr>
      <vt:lpstr>PowerPoint Presentation</vt:lpstr>
      <vt:lpstr>ML Pipelines and Azure Machine Learning</vt:lpstr>
      <vt:lpstr>Azure Machine Learning Operationalization</vt:lpstr>
      <vt:lpstr>Azure ML operationalization</vt:lpstr>
      <vt:lpstr>Microsoft Hardware Acceler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PEK-F00494</dc:creator>
  <cp:lastModifiedBy>Delon Yau</cp:lastModifiedBy>
  <cp:revision>191</cp:revision>
  <dcterms:created xsi:type="dcterms:W3CDTF">2017-07-31T08:38:42Z</dcterms:created>
  <dcterms:modified xsi:type="dcterms:W3CDTF">2018-11-22T14:4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leliang@microsoft.com</vt:lpwstr>
  </property>
  <property fmtid="{D5CDD505-2E9C-101B-9397-08002B2CF9AE}" pid="5" name="MSIP_Label_f42aa342-8706-4288-bd11-ebb85995028c_SetDate">
    <vt:lpwstr>2018-10-24T05:15:45.0516811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